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09" r:id="rId3"/>
    <p:sldMasterId id="2147483724" r:id="rId4"/>
    <p:sldMasterId id="2147483848" r:id="rId5"/>
    <p:sldMasterId id="2147483863" r:id="rId6"/>
    <p:sldMasterId id="2147483891" r:id="rId7"/>
  </p:sldMasterIdLst>
  <p:notesMasterIdLst>
    <p:notesMasterId r:id="rId23"/>
  </p:notesMasterIdLst>
  <p:handoutMasterIdLst>
    <p:handoutMasterId r:id="rId24"/>
  </p:handoutMasterIdLst>
  <p:sldIdLst>
    <p:sldId id="418" r:id="rId8"/>
    <p:sldId id="269" r:id="rId9"/>
    <p:sldId id="427" r:id="rId10"/>
    <p:sldId id="366" r:id="rId11"/>
    <p:sldId id="2141413430" r:id="rId12"/>
    <p:sldId id="276" r:id="rId13"/>
    <p:sldId id="2141413433" r:id="rId14"/>
    <p:sldId id="428" r:id="rId15"/>
    <p:sldId id="2141413428" r:id="rId16"/>
    <p:sldId id="2141413435" r:id="rId17"/>
    <p:sldId id="2141413439" r:id="rId18"/>
    <p:sldId id="2141413436" r:id="rId19"/>
    <p:sldId id="2141413438" r:id="rId20"/>
    <p:sldId id="285" r:id="rId21"/>
    <p:sldId id="2141413437" r:id="rId22"/>
  </p:sldIdLst>
  <p:sldSz cx="12192000" cy="6858000"/>
  <p:notesSz cx="6797675" cy="9928225"/>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Krause Schütz" initials="CS" lastIdx="5" clrIdx="0"/>
  <p:cmAuthor id="2" name="Bente Petersen" initials="BP" lastIdx="1" clrIdx="1">
    <p:extLst>
      <p:ext uri="{19B8F6BF-5375-455C-9EA6-DF929625EA0E}">
        <p15:presenceInfo xmlns:p15="http://schemas.microsoft.com/office/powerpoint/2012/main" userId="S::bp@aeldresagen.dk::413cb35b-9dc7-436b-9d45-797bf9a73e49" providerId="AD"/>
      </p:ext>
    </p:extLst>
  </p:cmAuthor>
  <p:cmAuthor id="3" name="Karen Skou" initials="KS" lastIdx="1" clrIdx="2">
    <p:extLst>
      <p:ext uri="{19B8F6BF-5375-455C-9EA6-DF929625EA0E}">
        <p15:presenceInfo xmlns:p15="http://schemas.microsoft.com/office/powerpoint/2012/main" userId="S::ksk@aeldresagen.dk::adfc2eef-5eac-47d0-828a-2df37596e6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9200"/>
    <a:srgbClr val="3534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C1224D-86FA-4BDD-9DBD-C150AF93EA91}" v="117" dt="2024-01-14T10:03:13.8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01" autoAdjust="0"/>
    <p:restoredTop sz="95201" autoAdjust="0"/>
  </p:normalViewPr>
  <p:slideViewPr>
    <p:cSldViewPr snapToGrid="0">
      <p:cViewPr varScale="1">
        <p:scale>
          <a:sx n="111" d="100"/>
          <a:sy n="111" d="100"/>
        </p:scale>
        <p:origin x="294" y="96"/>
      </p:cViewPr>
      <p:guideLst>
        <p:guide orient="horz" pos="2160"/>
        <p:guide pos="3840"/>
      </p:guideLst>
    </p:cSldViewPr>
  </p:slideViewPr>
  <p:outlineViewPr>
    <p:cViewPr>
      <p:scale>
        <a:sx n="33" d="100"/>
        <a:sy n="33" d="100"/>
      </p:scale>
      <p:origin x="0" y="-2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5/10/relationships/revisionInfo" Target="revisionInfo.xml"/></Relationships>
</file>

<file path=ppt/diagrams/_rels/data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 Id="rId4" Type="http://schemas.openxmlformats.org/officeDocument/2006/relationships/image" Target="../media/image17.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 Id="rId4" Type="http://schemas.openxmlformats.org/officeDocument/2006/relationships/image" Target="../media/image17.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F200F6-13B2-4DDB-B4F1-09FA02390E07}" type="doc">
      <dgm:prSet loTypeId="urn:microsoft.com/office/officeart/2005/8/layout/pList1" loCatId="picture" qsTypeId="urn:microsoft.com/office/officeart/2005/8/quickstyle/simple1" qsCatId="simple" csTypeId="urn:microsoft.com/office/officeart/2005/8/colors/accent0_3" csCatId="mainScheme" phldr="1"/>
      <dgm:spPr/>
    </dgm:pt>
    <dgm:pt modelId="{E0643222-E67F-4833-B592-13904950F825}">
      <dgm:prSet phldrT="[Tekst]" custT="1"/>
      <dgm:spPr/>
      <dgm:t>
        <a:bodyPr/>
        <a:lstStyle/>
        <a:p>
          <a:pPr algn="ctr"/>
          <a:r>
            <a:rPr lang="da-DK" sz="1200" b="1" dirty="0"/>
            <a:t>Pressekontakt og</a:t>
          </a:r>
          <a:br>
            <a:rPr lang="da-DK" sz="1200" b="1" dirty="0"/>
          </a:br>
          <a:r>
            <a:rPr lang="da-DK" sz="1200" b="1" dirty="0"/>
            <a:t>kommunikation</a:t>
          </a:r>
        </a:p>
      </dgm:t>
    </dgm:pt>
    <dgm:pt modelId="{C65AF506-172A-4CF9-8F40-5252F7E82FE1}" type="parTrans" cxnId="{836E7211-293D-4823-888C-8D189B3BAA3D}">
      <dgm:prSet/>
      <dgm:spPr/>
      <dgm:t>
        <a:bodyPr/>
        <a:lstStyle/>
        <a:p>
          <a:endParaRPr lang="da-DK"/>
        </a:p>
      </dgm:t>
    </dgm:pt>
    <dgm:pt modelId="{6D4767DB-5175-458E-B22D-FEF24A5E4627}" type="sibTrans" cxnId="{836E7211-293D-4823-888C-8D189B3BAA3D}">
      <dgm:prSet/>
      <dgm:spPr/>
      <dgm:t>
        <a:bodyPr/>
        <a:lstStyle/>
        <a:p>
          <a:endParaRPr lang="da-DK"/>
        </a:p>
      </dgm:t>
    </dgm:pt>
    <dgm:pt modelId="{38309CFF-FAAC-496A-8CA5-2EB194D70465}">
      <dgm:prSet phldrT="[Tekst]" custT="1"/>
      <dgm:spPr/>
      <dgm:t>
        <a:bodyPr/>
        <a:lstStyle/>
        <a:p>
          <a:r>
            <a:rPr lang="da-DK" sz="1100" b="1" dirty="0">
              <a:latin typeface="Arial"/>
              <a:cs typeface="Arial" pitchFamily="34" charset="0"/>
            </a:rPr>
            <a:t>Organisationsarbejde og</a:t>
          </a:r>
          <a:br>
            <a:rPr lang="da-DK" sz="1100" b="1" dirty="0">
              <a:latin typeface="Arial"/>
              <a:cs typeface="Arial" pitchFamily="34" charset="0"/>
            </a:rPr>
          </a:br>
          <a:r>
            <a:rPr lang="da-DK" sz="1100" b="1" dirty="0">
              <a:latin typeface="Arial"/>
              <a:cs typeface="Arial" pitchFamily="34" charset="0"/>
            </a:rPr>
            <a:t> lokal ældre- og sundhedspolitisk indsats</a:t>
          </a:r>
          <a:endParaRPr lang="da-DK" sz="1100" b="1" dirty="0"/>
        </a:p>
      </dgm:t>
    </dgm:pt>
    <dgm:pt modelId="{CD71A39D-8FD5-4C2C-B436-3D20166E7732}" type="parTrans" cxnId="{D384B81B-97C0-4DFD-B068-8CAF2A1DDF79}">
      <dgm:prSet/>
      <dgm:spPr/>
      <dgm:t>
        <a:bodyPr/>
        <a:lstStyle/>
        <a:p>
          <a:endParaRPr lang="da-DK"/>
        </a:p>
      </dgm:t>
    </dgm:pt>
    <dgm:pt modelId="{BB03890E-34AC-40CB-BC2D-73B60AD5C12E}" type="sibTrans" cxnId="{D384B81B-97C0-4DFD-B068-8CAF2A1DDF79}">
      <dgm:prSet/>
      <dgm:spPr/>
      <dgm:t>
        <a:bodyPr/>
        <a:lstStyle/>
        <a:p>
          <a:endParaRPr lang="da-DK"/>
        </a:p>
      </dgm:t>
    </dgm:pt>
    <dgm:pt modelId="{DA1457E3-4568-4856-AD62-5ECEE6A76A94}">
      <dgm:prSet phldrT="[Tekst]" custT="1"/>
      <dgm:spPr/>
      <dgm:t>
        <a:bodyPr/>
        <a:lstStyle/>
        <a:p>
          <a:pPr algn="ctr"/>
          <a:r>
            <a:rPr lang="da-DK" sz="1100" b="1" dirty="0">
              <a:latin typeface="Arial"/>
              <a:cs typeface="Arial" pitchFamily="34" charset="0"/>
            </a:rPr>
            <a:t>Medlemsaktiviteter og arrangementer, fx foredrag, </a:t>
          </a:r>
          <a:r>
            <a:rPr lang="da-DK" sz="1100" b="1" dirty="0">
              <a:highlight>
                <a:srgbClr val="C0C0C0"/>
              </a:highlight>
              <a:latin typeface="Arial"/>
              <a:cs typeface="Arial" pitchFamily="34" charset="0"/>
            </a:rPr>
            <a:t>underholdning</a:t>
          </a:r>
          <a:r>
            <a:rPr lang="da-DK" sz="1100" b="1" dirty="0">
              <a:latin typeface="Arial"/>
              <a:cs typeface="Arial" pitchFamily="34" charset="0"/>
            </a:rPr>
            <a:t>, rejser, motion, </a:t>
          </a:r>
          <a:r>
            <a:rPr lang="da-DK" sz="1100" b="1" dirty="0">
              <a:highlight>
                <a:srgbClr val="FFFF00"/>
              </a:highlight>
              <a:latin typeface="Arial"/>
              <a:cs typeface="Arial" pitchFamily="34" charset="0"/>
            </a:rPr>
            <a:t>ture i naturen </a:t>
          </a:r>
          <a:br>
            <a:rPr lang="da-DK" sz="1100" b="1" dirty="0">
              <a:highlight>
                <a:srgbClr val="FFFF00"/>
              </a:highlight>
              <a:latin typeface="Arial"/>
              <a:cs typeface="Arial" pitchFamily="34" charset="0"/>
            </a:rPr>
          </a:br>
          <a:r>
            <a:rPr lang="da-DK" sz="1100" b="1" dirty="0">
              <a:highlight>
                <a:srgbClr val="FFFF00"/>
              </a:highlight>
              <a:latin typeface="Arial"/>
              <a:cs typeface="Arial" pitchFamily="34" charset="0"/>
            </a:rPr>
            <a:t>i godt selskab  </a:t>
          </a:r>
          <a:r>
            <a:rPr lang="da-DK" sz="1100" b="1" dirty="0">
              <a:highlight>
                <a:srgbClr val="C0C0C0"/>
              </a:highlight>
              <a:latin typeface="Arial"/>
              <a:cs typeface="Arial" pitchFamily="34" charset="0"/>
            </a:rPr>
            <a:t>og meget andet.</a:t>
          </a:r>
          <a:endParaRPr lang="da-DK" sz="1100" b="1" dirty="0">
            <a:highlight>
              <a:srgbClr val="C0C0C0"/>
            </a:highlight>
          </a:endParaRPr>
        </a:p>
      </dgm:t>
    </dgm:pt>
    <dgm:pt modelId="{2380BBFE-2390-475F-A4CE-E1A9B9AC8FD4}" type="parTrans" cxnId="{39F85746-4D41-446A-B0EE-C0BC6542CC39}">
      <dgm:prSet/>
      <dgm:spPr/>
      <dgm:t>
        <a:bodyPr/>
        <a:lstStyle/>
        <a:p>
          <a:endParaRPr lang="da-DK"/>
        </a:p>
      </dgm:t>
    </dgm:pt>
    <dgm:pt modelId="{E2FC2263-2B48-4291-8F11-89D696E2A903}" type="sibTrans" cxnId="{39F85746-4D41-446A-B0EE-C0BC6542CC39}">
      <dgm:prSet/>
      <dgm:spPr/>
      <dgm:t>
        <a:bodyPr/>
        <a:lstStyle/>
        <a:p>
          <a:endParaRPr lang="da-DK"/>
        </a:p>
      </dgm:t>
    </dgm:pt>
    <dgm:pt modelId="{AD97C657-5F38-4636-8AE7-8A983D4486AF}">
      <dgm:prSet custT="1"/>
      <dgm:spPr/>
      <dgm:t>
        <a:bodyPr/>
        <a:lstStyle/>
        <a:p>
          <a:pPr algn="l"/>
          <a:endParaRPr lang="da-DK" sz="1100" b="1" dirty="0"/>
        </a:p>
      </dgm:t>
    </dgm:pt>
    <dgm:pt modelId="{4EB5015F-0DDD-466D-9634-E207B7377C09}" type="parTrans" cxnId="{F7EE2137-FF8E-45A9-8725-A9AC79FE4FAE}">
      <dgm:prSet/>
      <dgm:spPr/>
      <dgm:t>
        <a:bodyPr/>
        <a:lstStyle/>
        <a:p>
          <a:endParaRPr lang="da-DK"/>
        </a:p>
      </dgm:t>
    </dgm:pt>
    <dgm:pt modelId="{A2AB13B5-94B4-4212-B2FB-8DF46F9E7C25}" type="sibTrans" cxnId="{F7EE2137-FF8E-45A9-8725-A9AC79FE4FAE}">
      <dgm:prSet/>
      <dgm:spPr/>
      <dgm:t>
        <a:bodyPr/>
        <a:lstStyle/>
        <a:p>
          <a:endParaRPr lang="da-DK"/>
        </a:p>
      </dgm:t>
    </dgm:pt>
    <dgm:pt modelId="{9149C4FD-258C-4423-830B-CE08879F3D7E}">
      <dgm:prSet custT="1"/>
      <dgm:spPr/>
      <dgm:t>
        <a:bodyPr/>
        <a:lstStyle/>
        <a:p>
          <a:pPr algn="l"/>
          <a:endParaRPr lang="da-DK" sz="1100" b="1" dirty="0"/>
        </a:p>
      </dgm:t>
    </dgm:pt>
    <dgm:pt modelId="{467E4D18-2A54-47B1-8EF6-1E2F7BF14529}" type="parTrans" cxnId="{904BB62C-8902-46D4-8A4A-9CBAE8838A79}">
      <dgm:prSet/>
      <dgm:spPr/>
      <dgm:t>
        <a:bodyPr/>
        <a:lstStyle/>
        <a:p>
          <a:endParaRPr lang="da-DK"/>
        </a:p>
      </dgm:t>
    </dgm:pt>
    <dgm:pt modelId="{A63FF57D-CD4F-4D51-A62F-9E5680F0D8CF}" type="sibTrans" cxnId="{904BB62C-8902-46D4-8A4A-9CBAE8838A79}">
      <dgm:prSet/>
      <dgm:spPr/>
      <dgm:t>
        <a:bodyPr/>
        <a:lstStyle/>
        <a:p>
          <a:endParaRPr lang="da-DK"/>
        </a:p>
      </dgm:t>
    </dgm:pt>
    <dgm:pt modelId="{98ADA5E9-9D9A-4776-A86F-347E3E4D7531}">
      <dgm:prSet custT="1"/>
      <dgm:spPr/>
      <dgm:t>
        <a:bodyPr/>
        <a:lstStyle/>
        <a:p>
          <a:pPr algn="l"/>
          <a:endParaRPr lang="da-DK" sz="1100" b="1" dirty="0"/>
        </a:p>
      </dgm:t>
    </dgm:pt>
    <dgm:pt modelId="{A6865338-11C5-44D9-A463-20A9DB990CD7}" type="parTrans" cxnId="{E1D61064-E893-49B8-BAEC-96BCBFC91105}">
      <dgm:prSet/>
      <dgm:spPr/>
      <dgm:t>
        <a:bodyPr/>
        <a:lstStyle/>
        <a:p>
          <a:endParaRPr lang="da-DK"/>
        </a:p>
      </dgm:t>
    </dgm:pt>
    <dgm:pt modelId="{4F4610B9-940B-4006-9188-638DDDF98E8C}" type="sibTrans" cxnId="{E1D61064-E893-49B8-BAEC-96BCBFC91105}">
      <dgm:prSet/>
      <dgm:spPr/>
      <dgm:t>
        <a:bodyPr/>
        <a:lstStyle/>
        <a:p>
          <a:endParaRPr lang="da-DK"/>
        </a:p>
      </dgm:t>
    </dgm:pt>
    <dgm:pt modelId="{4D3C4DB7-1074-46EB-9EE3-91BE07A207E4}">
      <dgm:prSet custT="1"/>
      <dgm:spPr/>
      <dgm:t>
        <a:bodyPr/>
        <a:lstStyle/>
        <a:p>
          <a:pPr algn="l"/>
          <a:endParaRPr lang="da-DK" sz="1100" b="1" dirty="0"/>
        </a:p>
      </dgm:t>
    </dgm:pt>
    <dgm:pt modelId="{C40182E4-2F04-4970-807E-EE581F353981}" type="parTrans" cxnId="{E0F6F061-6F63-425E-B6AA-B4CEC6FBF278}">
      <dgm:prSet/>
      <dgm:spPr/>
      <dgm:t>
        <a:bodyPr/>
        <a:lstStyle/>
        <a:p>
          <a:endParaRPr lang="da-DK"/>
        </a:p>
      </dgm:t>
    </dgm:pt>
    <dgm:pt modelId="{4CA803C6-FFC8-46DD-891F-8AA06A40812B}" type="sibTrans" cxnId="{E0F6F061-6F63-425E-B6AA-B4CEC6FBF278}">
      <dgm:prSet/>
      <dgm:spPr/>
      <dgm:t>
        <a:bodyPr/>
        <a:lstStyle/>
        <a:p>
          <a:endParaRPr lang="da-DK"/>
        </a:p>
      </dgm:t>
    </dgm:pt>
    <dgm:pt modelId="{189BD6A6-2864-45C1-822B-510A4A5A11EC}">
      <dgm:prSet phldrT="[Tekst]" custT="1"/>
      <dgm:spPr/>
      <dgm:t>
        <a:bodyPr/>
        <a:lstStyle/>
        <a:p>
          <a:pPr algn="ctr"/>
          <a:r>
            <a:rPr lang="da-DK" sz="1100" b="1" dirty="0">
              <a:latin typeface="Arial"/>
              <a:cs typeface="Arial" pitchFamily="34" charset="0"/>
            </a:rPr>
            <a:t>Sociale aktiviteter, fx besøgsven, </a:t>
          </a:r>
          <a:r>
            <a:rPr lang="da-DK" sz="1100" b="1" dirty="0">
              <a:highlight>
                <a:srgbClr val="C0C0C0"/>
              </a:highlight>
              <a:latin typeface="Arial"/>
              <a:cs typeface="Arial" pitchFamily="34" charset="0"/>
            </a:rPr>
            <a:t>tryghedsopkald</a:t>
          </a:r>
          <a:r>
            <a:rPr lang="da-DK" sz="1100" b="1" dirty="0">
              <a:latin typeface="Arial"/>
              <a:cs typeface="Arial" pitchFamily="34" charset="0"/>
            </a:rPr>
            <a:t>, </a:t>
          </a:r>
          <a:r>
            <a:rPr lang="da-DK" sz="1100" b="1" dirty="0">
              <a:highlight>
                <a:srgbClr val="FFFF00"/>
              </a:highlight>
              <a:latin typeface="Arial"/>
              <a:cs typeface="Arial" pitchFamily="34" charset="0"/>
            </a:rPr>
            <a:t>telefonstjerne</a:t>
          </a:r>
          <a:r>
            <a:rPr lang="da-DK" sz="1100" b="1" dirty="0">
              <a:latin typeface="Arial"/>
              <a:cs typeface="Arial" pitchFamily="34" charset="0"/>
            </a:rPr>
            <a:t>, spiseven, hjælpende </a:t>
          </a:r>
          <a:r>
            <a:rPr lang="da-DK" sz="1100" b="1" dirty="0">
              <a:highlight>
                <a:srgbClr val="FFFF00"/>
              </a:highlight>
              <a:latin typeface="Arial"/>
              <a:cs typeface="Arial" pitchFamily="34" charset="0"/>
            </a:rPr>
            <a:t>hånd</a:t>
          </a:r>
          <a:r>
            <a:rPr lang="da-DK" sz="1100" b="1" dirty="0">
              <a:highlight>
                <a:srgbClr val="C0C0C0"/>
              </a:highlight>
              <a:latin typeface="Arial"/>
              <a:cs typeface="Arial" pitchFamily="34" charset="0"/>
            </a:rPr>
            <a:t>hænder,</a:t>
          </a:r>
          <a:r>
            <a:rPr lang="da-DK" sz="1100" b="1" dirty="0">
              <a:latin typeface="Arial"/>
              <a:cs typeface="Arial" pitchFamily="34" charset="0"/>
            </a:rPr>
            <a:t> </a:t>
          </a:r>
          <a:r>
            <a:rPr lang="da-DK" sz="1100" b="1" dirty="0">
              <a:highlight>
                <a:srgbClr val="FFFF00"/>
              </a:highlight>
              <a:latin typeface="Arial"/>
              <a:cs typeface="Arial" pitchFamily="34" charset="0"/>
            </a:rPr>
            <a:t>og børnehave/</a:t>
          </a:r>
          <a:r>
            <a:rPr lang="da-DK" sz="1100" b="1" dirty="0" err="1">
              <a:highlight>
                <a:srgbClr val="FFFF00"/>
              </a:highlight>
              <a:latin typeface="Arial"/>
              <a:cs typeface="Arial" pitchFamily="34" charset="0"/>
            </a:rPr>
            <a:t>skoleven</a:t>
          </a:r>
          <a:endParaRPr lang="da-DK" sz="1100" b="1" dirty="0">
            <a:highlight>
              <a:srgbClr val="FFFF00"/>
            </a:highlight>
            <a:latin typeface="Arial"/>
            <a:cs typeface="Arial" pitchFamily="34" charset="0"/>
          </a:endParaRPr>
        </a:p>
        <a:p>
          <a:pPr algn="ctr"/>
          <a:r>
            <a:rPr lang="da-DK" sz="1100" b="1" dirty="0">
              <a:highlight>
                <a:srgbClr val="C0C0C0"/>
              </a:highlight>
              <a:latin typeface="Arial"/>
              <a:cs typeface="Arial" pitchFamily="34" charset="0"/>
            </a:rPr>
            <a:t>bisidder</a:t>
          </a:r>
          <a:endParaRPr lang="da-DK" sz="1100" b="1" dirty="0">
            <a:highlight>
              <a:srgbClr val="C0C0C0"/>
            </a:highlight>
          </a:endParaRPr>
        </a:p>
      </dgm:t>
    </dgm:pt>
    <dgm:pt modelId="{19398152-D5E0-4DDA-A62F-00A804185AFC}" type="parTrans" cxnId="{F4EFAB49-DD1C-4F84-AE42-C4744AE4751E}">
      <dgm:prSet/>
      <dgm:spPr/>
      <dgm:t>
        <a:bodyPr/>
        <a:lstStyle/>
        <a:p>
          <a:endParaRPr lang="da-DK"/>
        </a:p>
      </dgm:t>
    </dgm:pt>
    <dgm:pt modelId="{B70859AD-3E08-4EBD-802D-107A40C91953}" type="sibTrans" cxnId="{F4EFAB49-DD1C-4F84-AE42-C4744AE4751E}">
      <dgm:prSet/>
      <dgm:spPr/>
      <dgm:t>
        <a:bodyPr/>
        <a:lstStyle/>
        <a:p>
          <a:endParaRPr lang="da-DK"/>
        </a:p>
      </dgm:t>
    </dgm:pt>
    <dgm:pt modelId="{2BFFC6D6-BDF1-42A8-BB53-CD7B6D326BCF}">
      <dgm:prSet custT="1"/>
      <dgm:spPr/>
      <dgm:t>
        <a:bodyPr/>
        <a:lstStyle/>
        <a:p>
          <a:pPr algn="l"/>
          <a:endParaRPr lang="da-DK" sz="1100" b="1" dirty="0"/>
        </a:p>
      </dgm:t>
    </dgm:pt>
    <dgm:pt modelId="{2FF545D3-AF16-41F7-ADBD-AAB2D1B7DA77}" type="parTrans" cxnId="{90E676BB-F0F5-456B-BF0E-EE0962F92150}">
      <dgm:prSet/>
      <dgm:spPr/>
      <dgm:t>
        <a:bodyPr/>
        <a:lstStyle/>
        <a:p>
          <a:endParaRPr lang="da-DK"/>
        </a:p>
      </dgm:t>
    </dgm:pt>
    <dgm:pt modelId="{DCBD687A-5B56-4501-9F6A-4F7990AE31CF}" type="sibTrans" cxnId="{90E676BB-F0F5-456B-BF0E-EE0962F92150}">
      <dgm:prSet/>
      <dgm:spPr/>
      <dgm:t>
        <a:bodyPr/>
        <a:lstStyle/>
        <a:p>
          <a:endParaRPr lang="da-DK"/>
        </a:p>
      </dgm:t>
    </dgm:pt>
    <dgm:pt modelId="{B00B9340-609A-493C-9671-EB77F3AD84F5}">
      <dgm:prSet custT="1"/>
      <dgm:spPr/>
      <dgm:t>
        <a:bodyPr/>
        <a:lstStyle/>
        <a:p>
          <a:pPr algn="l"/>
          <a:endParaRPr lang="da-DK" sz="1100" b="1"/>
        </a:p>
      </dgm:t>
    </dgm:pt>
    <dgm:pt modelId="{04813714-CFE4-4C88-B53B-042B1BC5F83C}" type="parTrans" cxnId="{D8E811C3-0A10-4195-9069-2436873BCEA3}">
      <dgm:prSet/>
      <dgm:spPr/>
      <dgm:t>
        <a:bodyPr/>
        <a:lstStyle/>
        <a:p>
          <a:endParaRPr lang="da-DK"/>
        </a:p>
      </dgm:t>
    </dgm:pt>
    <dgm:pt modelId="{87A5D267-8D8B-4D14-81A3-2186AB19031F}" type="sibTrans" cxnId="{D8E811C3-0A10-4195-9069-2436873BCEA3}">
      <dgm:prSet/>
      <dgm:spPr/>
      <dgm:t>
        <a:bodyPr/>
        <a:lstStyle/>
        <a:p>
          <a:endParaRPr lang="da-DK"/>
        </a:p>
      </dgm:t>
    </dgm:pt>
    <dgm:pt modelId="{1B6E7C58-985E-4EF1-965C-AEF3DC67B310}">
      <dgm:prSet custT="1"/>
      <dgm:spPr/>
      <dgm:t>
        <a:bodyPr/>
        <a:lstStyle/>
        <a:p>
          <a:pPr algn="l"/>
          <a:endParaRPr lang="da-DK" sz="1100" b="1" dirty="0"/>
        </a:p>
      </dgm:t>
    </dgm:pt>
    <dgm:pt modelId="{96748054-9706-4213-8DBC-C4F7EFC487C1}" type="parTrans" cxnId="{ABFBE4C3-A0D2-468F-A6A3-469251C24674}">
      <dgm:prSet/>
      <dgm:spPr/>
      <dgm:t>
        <a:bodyPr/>
        <a:lstStyle/>
        <a:p>
          <a:endParaRPr lang="da-DK"/>
        </a:p>
      </dgm:t>
    </dgm:pt>
    <dgm:pt modelId="{329EA148-E737-44B3-82CE-66A8DB682D82}" type="sibTrans" cxnId="{ABFBE4C3-A0D2-468F-A6A3-469251C24674}">
      <dgm:prSet/>
      <dgm:spPr/>
      <dgm:t>
        <a:bodyPr/>
        <a:lstStyle/>
        <a:p>
          <a:endParaRPr lang="da-DK"/>
        </a:p>
      </dgm:t>
    </dgm:pt>
    <dgm:pt modelId="{FDBEFBA0-547C-4161-B552-C6AA00CCEC23}">
      <dgm:prSet custT="1"/>
      <dgm:spPr/>
      <dgm:t>
        <a:bodyPr/>
        <a:lstStyle/>
        <a:p>
          <a:pPr algn="l"/>
          <a:endParaRPr lang="da-DK" sz="1100" b="1" dirty="0"/>
        </a:p>
      </dgm:t>
    </dgm:pt>
    <dgm:pt modelId="{23606455-48F1-4A97-A363-57D6FF67440A}" type="parTrans" cxnId="{6677705B-8F03-4CD6-90BA-5F3510D4E2D4}">
      <dgm:prSet/>
      <dgm:spPr/>
      <dgm:t>
        <a:bodyPr/>
        <a:lstStyle/>
        <a:p>
          <a:endParaRPr lang="da-DK"/>
        </a:p>
      </dgm:t>
    </dgm:pt>
    <dgm:pt modelId="{B6F8C5AF-E22F-430F-BC8C-ADE40995C42F}" type="sibTrans" cxnId="{6677705B-8F03-4CD6-90BA-5F3510D4E2D4}">
      <dgm:prSet/>
      <dgm:spPr/>
      <dgm:t>
        <a:bodyPr/>
        <a:lstStyle/>
        <a:p>
          <a:endParaRPr lang="da-DK"/>
        </a:p>
      </dgm:t>
    </dgm:pt>
    <dgm:pt modelId="{5C0D590E-CF4F-47F7-BA32-55183B07EB5D}">
      <dgm:prSet phldrT="[Tekst]" custT="1"/>
      <dgm:spPr/>
      <dgm:t>
        <a:bodyPr/>
        <a:lstStyle/>
        <a:p>
          <a:r>
            <a:rPr lang="da-DK" sz="1100" b="1" dirty="0">
              <a:latin typeface="Arial"/>
              <a:cs typeface="Arial" pitchFamily="34" charset="0"/>
            </a:rPr>
            <a:t>At fremme frivilliges trivsel</a:t>
          </a:r>
          <a:endParaRPr lang="da-DK" sz="1100" b="1" dirty="0"/>
        </a:p>
      </dgm:t>
    </dgm:pt>
    <dgm:pt modelId="{98064899-A469-427B-A652-81CFDAAC8CA6}" type="parTrans" cxnId="{35D636D9-8E61-443B-9F1F-7902A98F5086}">
      <dgm:prSet/>
      <dgm:spPr/>
      <dgm:t>
        <a:bodyPr/>
        <a:lstStyle/>
        <a:p>
          <a:endParaRPr lang="da-DK"/>
        </a:p>
      </dgm:t>
    </dgm:pt>
    <dgm:pt modelId="{F575B86B-B6BA-43B6-88A8-C3A7AD183A42}" type="sibTrans" cxnId="{35D636D9-8E61-443B-9F1F-7902A98F5086}">
      <dgm:prSet/>
      <dgm:spPr/>
      <dgm:t>
        <a:bodyPr/>
        <a:lstStyle/>
        <a:p>
          <a:endParaRPr lang="da-DK"/>
        </a:p>
      </dgm:t>
    </dgm:pt>
    <dgm:pt modelId="{886AAB04-3D27-448A-8CA5-C11B160E9EC8}" type="pres">
      <dgm:prSet presAssocID="{81F200F6-13B2-4DDB-B4F1-09FA02390E07}" presName="Name0" presStyleCnt="0">
        <dgm:presLayoutVars>
          <dgm:dir/>
          <dgm:resizeHandles val="exact"/>
        </dgm:presLayoutVars>
      </dgm:prSet>
      <dgm:spPr/>
    </dgm:pt>
    <dgm:pt modelId="{1B273BA4-9226-4CAF-96B2-294D33704FD7}" type="pres">
      <dgm:prSet presAssocID="{E0643222-E67F-4833-B592-13904950F825}" presName="compNode" presStyleCnt="0"/>
      <dgm:spPr/>
    </dgm:pt>
    <dgm:pt modelId="{E8CF689D-B067-4A80-A57E-31CB406CD4F2}" type="pres">
      <dgm:prSet presAssocID="{E0643222-E67F-4833-B592-13904950F825}" presName="pictRect" presStyleLbl="node1" presStyleIdx="0" presStyleCnt="5" custLinFactX="100000" custLinFactNeighborX="173972" custLinFactNeighborY="81986"/>
      <dgm:spPr>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dgm:spPr>
    </dgm:pt>
    <dgm:pt modelId="{9D142E59-5C59-4682-96EF-463C2B3B906E}" type="pres">
      <dgm:prSet presAssocID="{E0643222-E67F-4833-B592-13904950F825}" presName="textRect" presStyleLbl="revTx" presStyleIdx="0" presStyleCnt="5" custScaleY="25640" custLinFactX="100000" custLinFactY="13571" custLinFactNeighborX="169615" custLinFactNeighborY="100000">
        <dgm:presLayoutVars>
          <dgm:bulletEnabled val="1"/>
        </dgm:presLayoutVars>
      </dgm:prSet>
      <dgm:spPr/>
    </dgm:pt>
    <dgm:pt modelId="{2FD8E157-A80C-4E84-B1FB-6928BCED63AF}" type="pres">
      <dgm:prSet presAssocID="{6D4767DB-5175-458E-B22D-FEF24A5E4627}" presName="sibTrans" presStyleLbl="sibTrans2D1" presStyleIdx="0" presStyleCnt="0"/>
      <dgm:spPr/>
    </dgm:pt>
    <dgm:pt modelId="{432FE6B1-98C2-447D-8331-401CC964CCAD}" type="pres">
      <dgm:prSet presAssocID="{38309CFF-FAAC-496A-8CA5-2EB194D70465}" presName="compNode" presStyleCnt="0"/>
      <dgm:spPr/>
    </dgm:pt>
    <dgm:pt modelId="{723CD969-5286-42B6-899C-FAAD515DED35}" type="pres">
      <dgm:prSet presAssocID="{38309CFF-FAAC-496A-8CA5-2EB194D70465}" presName="pictRect" presStyleLbl="node1" presStyleIdx="1" presStyleCnt="5" custLinFactX="100000" custLinFactNeighborX="145728" custLinFactNeighborY="-66075"/>
      <dgm:spPr/>
    </dgm:pt>
    <dgm:pt modelId="{F3490DD2-3B97-40DE-9BEE-AEA43D632902}" type="pres">
      <dgm:prSet presAssocID="{38309CFF-FAAC-496A-8CA5-2EB194D70465}" presName="textRect" presStyleLbl="revTx" presStyleIdx="1" presStyleCnt="5" custLinFactX="100000" custLinFactY="-22711" custLinFactNeighborX="149358" custLinFactNeighborY="-100000">
        <dgm:presLayoutVars>
          <dgm:bulletEnabled val="1"/>
        </dgm:presLayoutVars>
      </dgm:prSet>
      <dgm:spPr/>
    </dgm:pt>
    <dgm:pt modelId="{BA4E79C1-BA59-4866-BCB9-363255207546}" type="pres">
      <dgm:prSet presAssocID="{BB03890E-34AC-40CB-BC2D-73B60AD5C12E}" presName="sibTrans" presStyleLbl="sibTrans2D1" presStyleIdx="0" presStyleCnt="0"/>
      <dgm:spPr/>
    </dgm:pt>
    <dgm:pt modelId="{FA27FC1D-E8E0-4BF0-A7C7-0DEB5F2DA1DD}" type="pres">
      <dgm:prSet presAssocID="{DA1457E3-4568-4856-AD62-5ECEE6A76A94}" presName="compNode" presStyleCnt="0"/>
      <dgm:spPr/>
    </dgm:pt>
    <dgm:pt modelId="{77CB209B-8AB6-41FB-8B72-C514C4DE1957}" type="pres">
      <dgm:prSet presAssocID="{DA1457E3-4568-4856-AD62-5ECEE6A76A94}" presName="pictRect" presStyleLbl="node1" presStyleIdx="2" presStyleCnt="5" custLinFactNeighborX="-27034" custLinFactNeighborY="-66075"/>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dgm:spPr>
    </dgm:pt>
    <dgm:pt modelId="{F800797B-1081-4491-90F9-F18FBF27426F}" type="pres">
      <dgm:prSet presAssocID="{DA1457E3-4568-4856-AD62-5ECEE6A76A94}" presName="textRect" presStyleLbl="revTx" presStyleIdx="2" presStyleCnt="5" custLinFactY="-22711" custLinFactNeighborX="-24210" custLinFactNeighborY="-100000">
        <dgm:presLayoutVars>
          <dgm:bulletEnabled val="1"/>
        </dgm:presLayoutVars>
      </dgm:prSet>
      <dgm:spPr/>
    </dgm:pt>
    <dgm:pt modelId="{7ECBFAF5-24E8-4150-833A-36D938E52A94}" type="pres">
      <dgm:prSet presAssocID="{E2FC2263-2B48-4291-8F11-89D696E2A903}" presName="sibTrans" presStyleLbl="sibTrans2D1" presStyleIdx="0" presStyleCnt="0"/>
      <dgm:spPr/>
    </dgm:pt>
    <dgm:pt modelId="{CF43FF14-C304-451D-B85D-B47AED036196}" type="pres">
      <dgm:prSet presAssocID="{189BD6A6-2864-45C1-822B-510A4A5A11EC}" presName="compNode" presStyleCnt="0"/>
      <dgm:spPr/>
    </dgm:pt>
    <dgm:pt modelId="{D9C9D899-23ED-4F0E-B404-331AC89E7DF6}" type="pres">
      <dgm:prSet presAssocID="{189BD6A6-2864-45C1-822B-510A4A5A11EC}" presName="pictRect" presStyleLbl="node1" presStyleIdx="3" presStyleCnt="5" custLinFactX="-100000" custLinFactNeighborX="-199637" custLinFactNeighborY="-66075"/>
      <dgm:spPr>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dgm:spPr>
    </dgm:pt>
    <dgm:pt modelId="{46C1E007-412F-43B1-97B6-776DD244D54D}" type="pres">
      <dgm:prSet presAssocID="{189BD6A6-2864-45C1-822B-510A4A5A11EC}" presName="textRect" presStyleLbl="revTx" presStyleIdx="3" presStyleCnt="5" custLinFactX="-100000" custLinFactY="-22711" custLinFactNeighborX="-197618" custLinFactNeighborY="-100000">
        <dgm:presLayoutVars>
          <dgm:bulletEnabled val="1"/>
        </dgm:presLayoutVars>
      </dgm:prSet>
      <dgm:spPr/>
    </dgm:pt>
    <dgm:pt modelId="{021F2A72-D699-4CA9-BC23-8C6F540F570A}" type="pres">
      <dgm:prSet presAssocID="{B70859AD-3E08-4EBD-802D-107A40C91953}" presName="sibTrans" presStyleLbl="sibTrans2D1" presStyleIdx="0" presStyleCnt="0"/>
      <dgm:spPr/>
    </dgm:pt>
    <dgm:pt modelId="{2745E963-7B65-447E-94BD-D2AAAD1BE49E}" type="pres">
      <dgm:prSet presAssocID="{5C0D590E-CF4F-47F7-BA32-55183B07EB5D}" presName="compNode" presStyleCnt="0"/>
      <dgm:spPr/>
    </dgm:pt>
    <dgm:pt modelId="{1707E6FC-1A44-4C75-8518-76A05ED223A8}" type="pres">
      <dgm:prSet presAssocID="{5C0D590E-CF4F-47F7-BA32-55183B07EB5D}" presName="pictRect" presStyleLbl="node1" presStyleIdx="4" presStyleCnt="5" custLinFactNeighborX="-85137" custLinFactNeighborY="-74913"/>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l="-2000" r="-2000"/>
          </a:stretch>
        </a:blipFill>
      </dgm:spPr>
    </dgm:pt>
    <dgm:pt modelId="{792A8BC0-7CC4-4315-A666-F6A3BC21F2A9}" type="pres">
      <dgm:prSet presAssocID="{5C0D590E-CF4F-47F7-BA32-55183B07EB5D}" presName="textRect" presStyleLbl="revTx" presStyleIdx="4" presStyleCnt="5" custScaleY="34347" custLinFactX="-132075" custLinFactY="29884" custLinFactNeighborX="-200000" custLinFactNeighborY="100000">
        <dgm:presLayoutVars>
          <dgm:bulletEnabled val="1"/>
        </dgm:presLayoutVars>
      </dgm:prSet>
      <dgm:spPr/>
    </dgm:pt>
  </dgm:ptLst>
  <dgm:cxnLst>
    <dgm:cxn modelId="{836E7211-293D-4823-888C-8D189B3BAA3D}" srcId="{81F200F6-13B2-4DDB-B4F1-09FA02390E07}" destId="{E0643222-E67F-4833-B592-13904950F825}" srcOrd="0" destOrd="0" parTransId="{C65AF506-172A-4CF9-8F40-5252F7E82FE1}" sibTransId="{6D4767DB-5175-458E-B22D-FEF24A5E4627}"/>
    <dgm:cxn modelId="{86C47214-CBE4-4380-BBC0-23918BD91CF6}" type="presOf" srcId="{B00B9340-609A-493C-9671-EB77F3AD84F5}" destId="{46C1E007-412F-43B1-97B6-776DD244D54D}" srcOrd="0" destOrd="2" presId="urn:microsoft.com/office/officeart/2005/8/layout/pList1"/>
    <dgm:cxn modelId="{D384B81B-97C0-4DFD-B068-8CAF2A1DDF79}" srcId="{81F200F6-13B2-4DDB-B4F1-09FA02390E07}" destId="{38309CFF-FAAC-496A-8CA5-2EB194D70465}" srcOrd="1" destOrd="0" parTransId="{CD71A39D-8FD5-4C2C-B436-3D20166E7732}" sibTransId="{BB03890E-34AC-40CB-BC2D-73B60AD5C12E}"/>
    <dgm:cxn modelId="{B96E251D-515A-4009-95C9-F3DDEAE4AD48}" type="presOf" srcId="{FDBEFBA0-547C-4161-B552-C6AA00CCEC23}" destId="{46C1E007-412F-43B1-97B6-776DD244D54D}" srcOrd="0" destOrd="4" presId="urn:microsoft.com/office/officeart/2005/8/layout/pList1"/>
    <dgm:cxn modelId="{D4EE2C1F-918B-4577-BDF8-3C135BE0461E}" type="presOf" srcId="{B70859AD-3E08-4EBD-802D-107A40C91953}" destId="{021F2A72-D699-4CA9-BC23-8C6F540F570A}" srcOrd="0" destOrd="0" presId="urn:microsoft.com/office/officeart/2005/8/layout/pList1"/>
    <dgm:cxn modelId="{516E7020-A80F-417E-9927-AAF7B34612F5}" type="presOf" srcId="{5C0D590E-CF4F-47F7-BA32-55183B07EB5D}" destId="{792A8BC0-7CC4-4315-A666-F6A3BC21F2A9}" srcOrd="0" destOrd="0" presId="urn:microsoft.com/office/officeart/2005/8/layout/pList1"/>
    <dgm:cxn modelId="{512F7022-9423-4CA7-AEF5-34B58DAC417E}" type="presOf" srcId="{2BFFC6D6-BDF1-42A8-BB53-CD7B6D326BCF}" destId="{46C1E007-412F-43B1-97B6-776DD244D54D}" srcOrd="0" destOrd="1" presId="urn:microsoft.com/office/officeart/2005/8/layout/pList1"/>
    <dgm:cxn modelId="{904BB62C-8902-46D4-8A4A-9CBAE8838A79}" srcId="{DA1457E3-4568-4856-AD62-5ECEE6A76A94}" destId="{9149C4FD-258C-4423-830B-CE08879F3D7E}" srcOrd="1" destOrd="0" parTransId="{467E4D18-2A54-47B1-8EF6-1E2F7BF14529}" sibTransId="{A63FF57D-CD4F-4D51-A62F-9E5680F0D8CF}"/>
    <dgm:cxn modelId="{077C012D-5C6E-4817-99D4-23674761CA62}" type="presOf" srcId="{4D3C4DB7-1074-46EB-9EE3-91BE07A207E4}" destId="{F800797B-1081-4491-90F9-F18FBF27426F}" srcOrd="0" destOrd="4" presId="urn:microsoft.com/office/officeart/2005/8/layout/pList1"/>
    <dgm:cxn modelId="{2891FB2E-377D-49AA-B830-11326CB84170}" type="presOf" srcId="{E2FC2263-2B48-4291-8F11-89D696E2A903}" destId="{7ECBFAF5-24E8-4150-833A-36D938E52A94}" srcOrd="0" destOrd="0" presId="urn:microsoft.com/office/officeart/2005/8/layout/pList1"/>
    <dgm:cxn modelId="{F7EE2137-FF8E-45A9-8725-A9AC79FE4FAE}" srcId="{DA1457E3-4568-4856-AD62-5ECEE6A76A94}" destId="{AD97C657-5F38-4636-8AE7-8A983D4486AF}" srcOrd="0" destOrd="0" parTransId="{4EB5015F-0DDD-466D-9634-E207B7377C09}" sibTransId="{A2AB13B5-94B4-4212-B2FB-8DF46F9E7C25}"/>
    <dgm:cxn modelId="{6677705B-8F03-4CD6-90BA-5F3510D4E2D4}" srcId="{189BD6A6-2864-45C1-822B-510A4A5A11EC}" destId="{FDBEFBA0-547C-4161-B552-C6AA00CCEC23}" srcOrd="3" destOrd="0" parTransId="{23606455-48F1-4A97-A363-57D6FF67440A}" sibTransId="{B6F8C5AF-E22F-430F-BC8C-ADE40995C42F}"/>
    <dgm:cxn modelId="{E0F6F061-6F63-425E-B6AA-B4CEC6FBF278}" srcId="{DA1457E3-4568-4856-AD62-5ECEE6A76A94}" destId="{4D3C4DB7-1074-46EB-9EE3-91BE07A207E4}" srcOrd="3" destOrd="0" parTransId="{C40182E4-2F04-4970-807E-EE581F353981}" sibTransId="{4CA803C6-FFC8-46DD-891F-8AA06A40812B}"/>
    <dgm:cxn modelId="{E1D61064-E893-49B8-BAEC-96BCBFC91105}" srcId="{DA1457E3-4568-4856-AD62-5ECEE6A76A94}" destId="{98ADA5E9-9D9A-4776-A86F-347E3E4D7531}" srcOrd="2" destOrd="0" parTransId="{A6865338-11C5-44D9-A463-20A9DB990CD7}" sibTransId="{4F4610B9-940B-4006-9188-638DDDF98E8C}"/>
    <dgm:cxn modelId="{39F85746-4D41-446A-B0EE-C0BC6542CC39}" srcId="{81F200F6-13B2-4DDB-B4F1-09FA02390E07}" destId="{DA1457E3-4568-4856-AD62-5ECEE6A76A94}" srcOrd="2" destOrd="0" parTransId="{2380BBFE-2390-475F-A4CE-E1A9B9AC8FD4}" sibTransId="{E2FC2263-2B48-4291-8F11-89D696E2A903}"/>
    <dgm:cxn modelId="{F4EFAB49-DD1C-4F84-AE42-C4744AE4751E}" srcId="{81F200F6-13B2-4DDB-B4F1-09FA02390E07}" destId="{189BD6A6-2864-45C1-822B-510A4A5A11EC}" srcOrd="3" destOrd="0" parTransId="{19398152-D5E0-4DDA-A62F-00A804185AFC}" sibTransId="{B70859AD-3E08-4EBD-802D-107A40C91953}"/>
    <dgm:cxn modelId="{138A3B4E-4383-400C-8CE0-752980D3C5FD}" type="presOf" srcId="{9149C4FD-258C-4423-830B-CE08879F3D7E}" destId="{F800797B-1081-4491-90F9-F18FBF27426F}" srcOrd="0" destOrd="2" presId="urn:microsoft.com/office/officeart/2005/8/layout/pList1"/>
    <dgm:cxn modelId="{A97F4A79-1C16-4963-8519-3AD22D48DFDA}" type="presOf" srcId="{AD97C657-5F38-4636-8AE7-8A983D4486AF}" destId="{F800797B-1081-4491-90F9-F18FBF27426F}" srcOrd="0" destOrd="1" presId="urn:microsoft.com/office/officeart/2005/8/layout/pList1"/>
    <dgm:cxn modelId="{17C7B19B-AC8E-43AE-9534-02E97FB36083}" type="presOf" srcId="{E0643222-E67F-4833-B592-13904950F825}" destId="{9D142E59-5C59-4682-96EF-463C2B3B906E}" srcOrd="0" destOrd="0" presId="urn:microsoft.com/office/officeart/2005/8/layout/pList1"/>
    <dgm:cxn modelId="{F464E0A0-E57A-4653-8830-A12B78D6F43A}" type="presOf" srcId="{1B6E7C58-985E-4EF1-965C-AEF3DC67B310}" destId="{46C1E007-412F-43B1-97B6-776DD244D54D}" srcOrd="0" destOrd="3" presId="urn:microsoft.com/office/officeart/2005/8/layout/pList1"/>
    <dgm:cxn modelId="{07628FAA-E46E-4D8D-99B2-4F51CA4CE9BE}" type="presOf" srcId="{DA1457E3-4568-4856-AD62-5ECEE6A76A94}" destId="{F800797B-1081-4491-90F9-F18FBF27426F}" srcOrd="0" destOrd="0" presId="urn:microsoft.com/office/officeart/2005/8/layout/pList1"/>
    <dgm:cxn modelId="{D4593EB6-0E53-4336-AFC8-27DC1F20CFEA}" type="presOf" srcId="{38309CFF-FAAC-496A-8CA5-2EB194D70465}" destId="{F3490DD2-3B97-40DE-9BEE-AEA43D632902}" srcOrd="0" destOrd="0" presId="urn:microsoft.com/office/officeart/2005/8/layout/pList1"/>
    <dgm:cxn modelId="{90E676BB-F0F5-456B-BF0E-EE0962F92150}" srcId="{189BD6A6-2864-45C1-822B-510A4A5A11EC}" destId="{2BFFC6D6-BDF1-42A8-BB53-CD7B6D326BCF}" srcOrd="0" destOrd="0" parTransId="{2FF545D3-AF16-41F7-ADBD-AAB2D1B7DA77}" sibTransId="{DCBD687A-5B56-4501-9F6A-4F7990AE31CF}"/>
    <dgm:cxn modelId="{D8E811C3-0A10-4195-9069-2436873BCEA3}" srcId="{189BD6A6-2864-45C1-822B-510A4A5A11EC}" destId="{B00B9340-609A-493C-9671-EB77F3AD84F5}" srcOrd="1" destOrd="0" parTransId="{04813714-CFE4-4C88-B53B-042B1BC5F83C}" sibTransId="{87A5D267-8D8B-4D14-81A3-2186AB19031F}"/>
    <dgm:cxn modelId="{ABFBE4C3-A0D2-468F-A6A3-469251C24674}" srcId="{189BD6A6-2864-45C1-822B-510A4A5A11EC}" destId="{1B6E7C58-985E-4EF1-965C-AEF3DC67B310}" srcOrd="2" destOrd="0" parTransId="{96748054-9706-4213-8DBC-C4F7EFC487C1}" sibTransId="{329EA148-E737-44B3-82CE-66A8DB682D82}"/>
    <dgm:cxn modelId="{4576C2D5-308C-45BE-8F7B-E4F1E8431606}" type="presOf" srcId="{BB03890E-34AC-40CB-BC2D-73B60AD5C12E}" destId="{BA4E79C1-BA59-4866-BCB9-363255207546}" srcOrd="0" destOrd="0" presId="urn:microsoft.com/office/officeart/2005/8/layout/pList1"/>
    <dgm:cxn modelId="{4EAF4CD6-D9BC-42B1-AEFD-0AB4C1ABB5F6}" type="presOf" srcId="{6D4767DB-5175-458E-B22D-FEF24A5E4627}" destId="{2FD8E157-A80C-4E84-B1FB-6928BCED63AF}" srcOrd="0" destOrd="0" presId="urn:microsoft.com/office/officeart/2005/8/layout/pList1"/>
    <dgm:cxn modelId="{35D636D9-8E61-443B-9F1F-7902A98F5086}" srcId="{81F200F6-13B2-4DDB-B4F1-09FA02390E07}" destId="{5C0D590E-CF4F-47F7-BA32-55183B07EB5D}" srcOrd="4" destOrd="0" parTransId="{98064899-A469-427B-A652-81CFDAAC8CA6}" sibTransId="{F575B86B-B6BA-43B6-88A8-C3A7AD183A42}"/>
    <dgm:cxn modelId="{D8DCE0DB-37F1-4738-8100-464B912E8BCC}" type="presOf" srcId="{81F200F6-13B2-4DDB-B4F1-09FA02390E07}" destId="{886AAB04-3D27-448A-8CA5-C11B160E9EC8}" srcOrd="0" destOrd="0" presId="urn:microsoft.com/office/officeart/2005/8/layout/pList1"/>
    <dgm:cxn modelId="{61755BE3-12C7-4BDB-8C18-F6FCA35E9A3B}" type="presOf" srcId="{189BD6A6-2864-45C1-822B-510A4A5A11EC}" destId="{46C1E007-412F-43B1-97B6-776DD244D54D}" srcOrd="0" destOrd="0" presId="urn:microsoft.com/office/officeart/2005/8/layout/pList1"/>
    <dgm:cxn modelId="{5D7A0EFB-CC05-42EB-A963-BBDD2A09095F}" type="presOf" srcId="{98ADA5E9-9D9A-4776-A86F-347E3E4D7531}" destId="{F800797B-1081-4491-90F9-F18FBF27426F}" srcOrd="0" destOrd="3" presId="urn:microsoft.com/office/officeart/2005/8/layout/pList1"/>
    <dgm:cxn modelId="{1E1D46CF-CC63-4B54-AC8D-0A6A84E6FC26}" type="presParOf" srcId="{886AAB04-3D27-448A-8CA5-C11B160E9EC8}" destId="{1B273BA4-9226-4CAF-96B2-294D33704FD7}" srcOrd="0" destOrd="0" presId="urn:microsoft.com/office/officeart/2005/8/layout/pList1"/>
    <dgm:cxn modelId="{9DB4DB16-3967-4313-B49A-05ABCEC3F673}" type="presParOf" srcId="{1B273BA4-9226-4CAF-96B2-294D33704FD7}" destId="{E8CF689D-B067-4A80-A57E-31CB406CD4F2}" srcOrd="0" destOrd="0" presId="urn:microsoft.com/office/officeart/2005/8/layout/pList1"/>
    <dgm:cxn modelId="{9E2064CD-7A88-4D31-A403-E3A9080E9B5C}" type="presParOf" srcId="{1B273BA4-9226-4CAF-96B2-294D33704FD7}" destId="{9D142E59-5C59-4682-96EF-463C2B3B906E}" srcOrd="1" destOrd="0" presId="urn:microsoft.com/office/officeart/2005/8/layout/pList1"/>
    <dgm:cxn modelId="{DFFE8019-6FBD-4259-8A2F-921B1BD82BAC}" type="presParOf" srcId="{886AAB04-3D27-448A-8CA5-C11B160E9EC8}" destId="{2FD8E157-A80C-4E84-B1FB-6928BCED63AF}" srcOrd="1" destOrd="0" presId="urn:microsoft.com/office/officeart/2005/8/layout/pList1"/>
    <dgm:cxn modelId="{4583E9B1-146E-47EB-856A-41BC80C338EC}" type="presParOf" srcId="{886AAB04-3D27-448A-8CA5-C11B160E9EC8}" destId="{432FE6B1-98C2-447D-8331-401CC964CCAD}" srcOrd="2" destOrd="0" presId="urn:microsoft.com/office/officeart/2005/8/layout/pList1"/>
    <dgm:cxn modelId="{0935B0E4-7929-4D4A-A779-3082364E7B9D}" type="presParOf" srcId="{432FE6B1-98C2-447D-8331-401CC964CCAD}" destId="{723CD969-5286-42B6-899C-FAAD515DED35}" srcOrd="0" destOrd="0" presId="urn:microsoft.com/office/officeart/2005/8/layout/pList1"/>
    <dgm:cxn modelId="{E3DB59C0-1957-4958-BABD-0A42673F8E4D}" type="presParOf" srcId="{432FE6B1-98C2-447D-8331-401CC964CCAD}" destId="{F3490DD2-3B97-40DE-9BEE-AEA43D632902}" srcOrd="1" destOrd="0" presId="urn:microsoft.com/office/officeart/2005/8/layout/pList1"/>
    <dgm:cxn modelId="{4C0F0D14-D177-4A84-9780-F88B8510BBE6}" type="presParOf" srcId="{886AAB04-3D27-448A-8CA5-C11B160E9EC8}" destId="{BA4E79C1-BA59-4866-BCB9-363255207546}" srcOrd="3" destOrd="0" presId="urn:microsoft.com/office/officeart/2005/8/layout/pList1"/>
    <dgm:cxn modelId="{8174817B-A009-46C5-9D3D-D8CC4166297C}" type="presParOf" srcId="{886AAB04-3D27-448A-8CA5-C11B160E9EC8}" destId="{FA27FC1D-E8E0-4BF0-A7C7-0DEB5F2DA1DD}" srcOrd="4" destOrd="0" presId="urn:microsoft.com/office/officeart/2005/8/layout/pList1"/>
    <dgm:cxn modelId="{37F13FCB-7725-417E-BE7E-26FB86E26AA9}" type="presParOf" srcId="{FA27FC1D-E8E0-4BF0-A7C7-0DEB5F2DA1DD}" destId="{77CB209B-8AB6-41FB-8B72-C514C4DE1957}" srcOrd="0" destOrd="0" presId="urn:microsoft.com/office/officeart/2005/8/layout/pList1"/>
    <dgm:cxn modelId="{7724CE9E-E6FF-4DA0-87D4-02035C67CEB7}" type="presParOf" srcId="{FA27FC1D-E8E0-4BF0-A7C7-0DEB5F2DA1DD}" destId="{F800797B-1081-4491-90F9-F18FBF27426F}" srcOrd="1" destOrd="0" presId="urn:microsoft.com/office/officeart/2005/8/layout/pList1"/>
    <dgm:cxn modelId="{C40BBAD6-D89F-42B8-8D4A-E169EB5033A2}" type="presParOf" srcId="{886AAB04-3D27-448A-8CA5-C11B160E9EC8}" destId="{7ECBFAF5-24E8-4150-833A-36D938E52A94}" srcOrd="5" destOrd="0" presId="urn:microsoft.com/office/officeart/2005/8/layout/pList1"/>
    <dgm:cxn modelId="{038F8D6A-CA3D-4CE0-8854-019644F6902D}" type="presParOf" srcId="{886AAB04-3D27-448A-8CA5-C11B160E9EC8}" destId="{CF43FF14-C304-451D-B85D-B47AED036196}" srcOrd="6" destOrd="0" presId="urn:microsoft.com/office/officeart/2005/8/layout/pList1"/>
    <dgm:cxn modelId="{F4113E81-82DB-4A8F-B102-DC64CBF51B8B}" type="presParOf" srcId="{CF43FF14-C304-451D-B85D-B47AED036196}" destId="{D9C9D899-23ED-4F0E-B404-331AC89E7DF6}" srcOrd="0" destOrd="0" presId="urn:microsoft.com/office/officeart/2005/8/layout/pList1"/>
    <dgm:cxn modelId="{0B6DB99B-BE07-4AF7-B8C8-56C7FF5E0929}" type="presParOf" srcId="{CF43FF14-C304-451D-B85D-B47AED036196}" destId="{46C1E007-412F-43B1-97B6-776DD244D54D}" srcOrd="1" destOrd="0" presId="urn:microsoft.com/office/officeart/2005/8/layout/pList1"/>
    <dgm:cxn modelId="{88F40B4B-205F-43E2-9EDE-4E7C2DF7676F}" type="presParOf" srcId="{886AAB04-3D27-448A-8CA5-C11B160E9EC8}" destId="{021F2A72-D699-4CA9-BC23-8C6F540F570A}" srcOrd="7" destOrd="0" presId="urn:microsoft.com/office/officeart/2005/8/layout/pList1"/>
    <dgm:cxn modelId="{DDC93912-056C-46E9-B7E1-F2E331DEAFCE}" type="presParOf" srcId="{886AAB04-3D27-448A-8CA5-C11B160E9EC8}" destId="{2745E963-7B65-447E-94BD-D2AAAD1BE49E}" srcOrd="8" destOrd="0" presId="urn:microsoft.com/office/officeart/2005/8/layout/pList1"/>
    <dgm:cxn modelId="{C35D0255-8E23-4B1B-BF19-EE1E03075FAA}" type="presParOf" srcId="{2745E963-7B65-447E-94BD-D2AAAD1BE49E}" destId="{1707E6FC-1A44-4C75-8518-76A05ED223A8}" srcOrd="0" destOrd="0" presId="urn:microsoft.com/office/officeart/2005/8/layout/pList1"/>
    <dgm:cxn modelId="{910F7EBA-A16B-4C3E-A81C-99C897AF95EB}" type="presParOf" srcId="{2745E963-7B65-447E-94BD-D2AAAD1BE49E}" destId="{792A8BC0-7CC4-4315-A666-F6A3BC21F2A9}"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CF689D-B067-4A80-A57E-31CB406CD4F2}">
      <dsp:nvSpPr>
        <dsp:cNvPr id="0" name=""/>
        <dsp:cNvSpPr/>
      </dsp:nvSpPr>
      <dsp:spPr>
        <a:xfrm>
          <a:off x="5702156" y="2386031"/>
          <a:ext cx="2079092" cy="1432494"/>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142E59-5C59-4682-96EF-463C2B3B906E}">
      <dsp:nvSpPr>
        <dsp:cNvPr id="0" name=""/>
        <dsp:cNvSpPr/>
      </dsp:nvSpPr>
      <dsp:spPr>
        <a:xfrm>
          <a:off x="5611570" y="3806888"/>
          <a:ext cx="2079092" cy="197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0" numCol="1" spcCol="1270" anchor="t" anchorCtr="0">
          <a:noAutofit/>
        </a:bodyPr>
        <a:lstStyle/>
        <a:p>
          <a:pPr marL="0" lvl="0" indent="0" algn="ctr" defTabSz="533400">
            <a:lnSpc>
              <a:spcPct val="90000"/>
            </a:lnSpc>
            <a:spcBef>
              <a:spcPct val="0"/>
            </a:spcBef>
            <a:spcAft>
              <a:spcPct val="35000"/>
            </a:spcAft>
            <a:buNone/>
          </a:pPr>
          <a:r>
            <a:rPr lang="da-DK" sz="1200" b="1" kern="1200" dirty="0"/>
            <a:t>Pressekontakt og</a:t>
          </a:r>
          <a:br>
            <a:rPr lang="da-DK" sz="1200" b="1" kern="1200" dirty="0"/>
          </a:br>
          <a:r>
            <a:rPr lang="da-DK" sz="1200" b="1" kern="1200" dirty="0"/>
            <a:t>kommunikation</a:t>
          </a:r>
        </a:p>
      </dsp:txBody>
      <dsp:txXfrm>
        <a:off x="5611570" y="3806888"/>
        <a:ext cx="2079092" cy="197772"/>
      </dsp:txXfrm>
    </dsp:sp>
    <dsp:sp modelId="{723CD969-5286-42B6-899C-FAAD515DED35}">
      <dsp:nvSpPr>
        <dsp:cNvPr id="0" name=""/>
        <dsp:cNvSpPr/>
      </dsp:nvSpPr>
      <dsp:spPr>
        <a:xfrm>
          <a:off x="7402027" y="121672"/>
          <a:ext cx="2079092" cy="143249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490DD2-3B97-40DE-9BEE-AEA43D632902}">
      <dsp:nvSpPr>
        <dsp:cNvPr id="0" name=""/>
        <dsp:cNvSpPr/>
      </dsp:nvSpPr>
      <dsp:spPr>
        <a:xfrm>
          <a:off x="7477498" y="1554165"/>
          <a:ext cx="2079092" cy="771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0" numCol="1" spcCol="1270" anchor="t" anchorCtr="0">
          <a:noAutofit/>
        </a:bodyPr>
        <a:lstStyle/>
        <a:p>
          <a:pPr marL="0" lvl="0" indent="0" algn="ctr" defTabSz="488950">
            <a:lnSpc>
              <a:spcPct val="90000"/>
            </a:lnSpc>
            <a:spcBef>
              <a:spcPct val="0"/>
            </a:spcBef>
            <a:spcAft>
              <a:spcPct val="35000"/>
            </a:spcAft>
            <a:buNone/>
          </a:pPr>
          <a:r>
            <a:rPr lang="da-DK" sz="1100" b="1" kern="1200" dirty="0">
              <a:latin typeface="Arial"/>
              <a:cs typeface="Arial" pitchFamily="34" charset="0"/>
            </a:rPr>
            <a:t>Organisationsarbejde og</a:t>
          </a:r>
          <a:br>
            <a:rPr lang="da-DK" sz="1100" b="1" kern="1200" dirty="0">
              <a:latin typeface="Arial"/>
              <a:cs typeface="Arial" pitchFamily="34" charset="0"/>
            </a:rPr>
          </a:br>
          <a:r>
            <a:rPr lang="da-DK" sz="1100" b="1" kern="1200" dirty="0">
              <a:latin typeface="Arial"/>
              <a:cs typeface="Arial" pitchFamily="34" charset="0"/>
            </a:rPr>
            <a:t> lokal ældre- og sundhedspolitisk indsats</a:t>
          </a:r>
          <a:endParaRPr lang="da-DK" sz="1100" b="1" kern="1200" dirty="0"/>
        </a:p>
      </dsp:txBody>
      <dsp:txXfrm>
        <a:off x="7477498" y="1554165"/>
        <a:ext cx="2079092" cy="771343"/>
      </dsp:txXfrm>
    </dsp:sp>
    <dsp:sp modelId="{77CB209B-8AB6-41FB-8B72-C514C4DE1957}">
      <dsp:nvSpPr>
        <dsp:cNvPr id="0" name=""/>
        <dsp:cNvSpPr/>
      </dsp:nvSpPr>
      <dsp:spPr>
        <a:xfrm>
          <a:off x="4018141" y="121672"/>
          <a:ext cx="2079092" cy="1432494"/>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800797B-1081-4491-90F9-F18FBF27426F}">
      <dsp:nvSpPr>
        <dsp:cNvPr id="0" name=""/>
        <dsp:cNvSpPr/>
      </dsp:nvSpPr>
      <dsp:spPr>
        <a:xfrm>
          <a:off x="4076855" y="1554165"/>
          <a:ext cx="2079092" cy="771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0" numCol="1" spcCol="1270" anchor="t" anchorCtr="0">
          <a:noAutofit/>
        </a:bodyPr>
        <a:lstStyle/>
        <a:p>
          <a:pPr marL="0" lvl="0" indent="0" algn="ctr" defTabSz="488950">
            <a:lnSpc>
              <a:spcPct val="90000"/>
            </a:lnSpc>
            <a:spcBef>
              <a:spcPct val="0"/>
            </a:spcBef>
            <a:spcAft>
              <a:spcPct val="35000"/>
            </a:spcAft>
            <a:buNone/>
          </a:pPr>
          <a:r>
            <a:rPr lang="da-DK" sz="1100" b="1" kern="1200" dirty="0">
              <a:latin typeface="Arial"/>
              <a:cs typeface="Arial" pitchFamily="34" charset="0"/>
            </a:rPr>
            <a:t>Medlemsaktiviteter og arrangementer, fx foredrag, </a:t>
          </a:r>
          <a:r>
            <a:rPr lang="da-DK" sz="1100" b="1" kern="1200" dirty="0">
              <a:highlight>
                <a:srgbClr val="C0C0C0"/>
              </a:highlight>
              <a:latin typeface="Arial"/>
              <a:cs typeface="Arial" pitchFamily="34" charset="0"/>
            </a:rPr>
            <a:t>underholdning</a:t>
          </a:r>
          <a:r>
            <a:rPr lang="da-DK" sz="1100" b="1" kern="1200" dirty="0">
              <a:latin typeface="Arial"/>
              <a:cs typeface="Arial" pitchFamily="34" charset="0"/>
            </a:rPr>
            <a:t>, rejser, motion, </a:t>
          </a:r>
          <a:r>
            <a:rPr lang="da-DK" sz="1100" b="1" kern="1200" dirty="0">
              <a:highlight>
                <a:srgbClr val="FFFF00"/>
              </a:highlight>
              <a:latin typeface="Arial"/>
              <a:cs typeface="Arial" pitchFamily="34" charset="0"/>
            </a:rPr>
            <a:t>ture i naturen </a:t>
          </a:r>
          <a:br>
            <a:rPr lang="da-DK" sz="1100" b="1" kern="1200" dirty="0">
              <a:highlight>
                <a:srgbClr val="FFFF00"/>
              </a:highlight>
              <a:latin typeface="Arial"/>
              <a:cs typeface="Arial" pitchFamily="34" charset="0"/>
            </a:rPr>
          </a:br>
          <a:r>
            <a:rPr lang="da-DK" sz="1100" b="1" kern="1200" dirty="0">
              <a:highlight>
                <a:srgbClr val="FFFF00"/>
              </a:highlight>
              <a:latin typeface="Arial"/>
              <a:cs typeface="Arial" pitchFamily="34" charset="0"/>
            </a:rPr>
            <a:t>i godt selskab  </a:t>
          </a:r>
          <a:r>
            <a:rPr lang="da-DK" sz="1100" b="1" kern="1200" dirty="0">
              <a:highlight>
                <a:srgbClr val="C0C0C0"/>
              </a:highlight>
              <a:latin typeface="Arial"/>
              <a:cs typeface="Arial" pitchFamily="34" charset="0"/>
            </a:rPr>
            <a:t>og meget andet.</a:t>
          </a:r>
          <a:endParaRPr lang="da-DK" sz="1100" b="1" kern="1200" dirty="0">
            <a:highlight>
              <a:srgbClr val="C0C0C0"/>
            </a:highlight>
          </a:endParaRPr>
        </a:p>
        <a:p>
          <a:pPr marL="57150" lvl="1" indent="-57150" algn="l" defTabSz="488950">
            <a:lnSpc>
              <a:spcPct val="90000"/>
            </a:lnSpc>
            <a:spcBef>
              <a:spcPct val="0"/>
            </a:spcBef>
            <a:spcAft>
              <a:spcPct val="15000"/>
            </a:spcAft>
            <a:buChar char="•"/>
          </a:pPr>
          <a:endParaRPr lang="da-DK" sz="1100" b="1" kern="1200" dirty="0"/>
        </a:p>
        <a:p>
          <a:pPr marL="57150" lvl="1" indent="-57150" algn="l" defTabSz="488950">
            <a:lnSpc>
              <a:spcPct val="90000"/>
            </a:lnSpc>
            <a:spcBef>
              <a:spcPct val="0"/>
            </a:spcBef>
            <a:spcAft>
              <a:spcPct val="15000"/>
            </a:spcAft>
            <a:buChar char="•"/>
          </a:pPr>
          <a:endParaRPr lang="da-DK" sz="1100" b="1" kern="1200" dirty="0"/>
        </a:p>
        <a:p>
          <a:pPr marL="57150" lvl="1" indent="-57150" algn="l" defTabSz="488950">
            <a:lnSpc>
              <a:spcPct val="90000"/>
            </a:lnSpc>
            <a:spcBef>
              <a:spcPct val="0"/>
            </a:spcBef>
            <a:spcAft>
              <a:spcPct val="15000"/>
            </a:spcAft>
            <a:buChar char="•"/>
          </a:pPr>
          <a:endParaRPr lang="da-DK" sz="1100" b="1" kern="1200" dirty="0"/>
        </a:p>
        <a:p>
          <a:pPr marL="57150" lvl="1" indent="-57150" algn="l" defTabSz="488950">
            <a:lnSpc>
              <a:spcPct val="90000"/>
            </a:lnSpc>
            <a:spcBef>
              <a:spcPct val="0"/>
            </a:spcBef>
            <a:spcAft>
              <a:spcPct val="15000"/>
            </a:spcAft>
            <a:buChar char="•"/>
          </a:pPr>
          <a:endParaRPr lang="da-DK" sz="1100" b="1" kern="1200" dirty="0"/>
        </a:p>
      </dsp:txBody>
      <dsp:txXfrm>
        <a:off x="4076855" y="1554165"/>
        <a:ext cx="2079092" cy="771343"/>
      </dsp:txXfrm>
    </dsp:sp>
    <dsp:sp modelId="{D9C9D899-23ED-4F0E-B404-331AC89E7DF6}">
      <dsp:nvSpPr>
        <dsp:cNvPr id="0" name=""/>
        <dsp:cNvSpPr/>
      </dsp:nvSpPr>
      <dsp:spPr>
        <a:xfrm>
          <a:off x="637562" y="121672"/>
          <a:ext cx="2079092" cy="1432494"/>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C1E007-412F-43B1-97B6-776DD244D54D}">
      <dsp:nvSpPr>
        <dsp:cNvPr id="0" name=""/>
        <dsp:cNvSpPr/>
      </dsp:nvSpPr>
      <dsp:spPr>
        <a:xfrm>
          <a:off x="679539" y="1554165"/>
          <a:ext cx="2079092" cy="7713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0" numCol="1" spcCol="1270" anchor="t" anchorCtr="0">
          <a:noAutofit/>
        </a:bodyPr>
        <a:lstStyle/>
        <a:p>
          <a:pPr marL="0" lvl="0" indent="0" algn="ctr" defTabSz="488950">
            <a:lnSpc>
              <a:spcPct val="90000"/>
            </a:lnSpc>
            <a:spcBef>
              <a:spcPct val="0"/>
            </a:spcBef>
            <a:spcAft>
              <a:spcPct val="35000"/>
            </a:spcAft>
            <a:buNone/>
          </a:pPr>
          <a:r>
            <a:rPr lang="da-DK" sz="1100" b="1" kern="1200" dirty="0">
              <a:latin typeface="Arial"/>
              <a:cs typeface="Arial" pitchFamily="34" charset="0"/>
            </a:rPr>
            <a:t>Sociale aktiviteter, fx besøgsven, </a:t>
          </a:r>
          <a:r>
            <a:rPr lang="da-DK" sz="1100" b="1" kern="1200" dirty="0">
              <a:highlight>
                <a:srgbClr val="C0C0C0"/>
              </a:highlight>
              <a:latin typeface="Arial"/>
              <a:cs typeface="Arial" pitchFamily="34" charset="0"/>
            </a:rPr>
            <a:t>tryghedsopkald</a:t>
          </a:r>
          <a:r>
            <a:rPr lang="da-DK" sz="1100" b="1" kern="1200" dirty="0">
              <a:latin typeface="Arial"/>
              <a:cs typeface="Arial" pitchFamily="34" charset="0"/>
            </a:rPr>
            <a:t>, </a:t>
          </a:r>
          <a:r>
            <a:rPr lang="da-DK" sz="1100" b="1" kern="1200" dirty="0">
              <a:highlight>
                <a:srgbClr val="FFFF00"/>
              </a:highlight>
              <a:latin typeface="Arial"/>
              <a:cs typeface="Arial" pitchFamily="34" charset="0"/>
            </a:rPr>
            <a:t>telefonstjerne</a:t>
          </a:r>
          <a:r>
            <a:rPr lang="da-DK" sz="1100" b="1" kern="1200" dirty="0">
              <a:latin typeface="Arial"/>
              <a:cs typeface="Arial" pitchFamily="34" charset="0"/>
            </a:rPr>
            <a:t>, spiseven, hjælpende </a:t>
          </a:r>
          <a:r>
            <a:rPr lang="da-DK" sz="1100" b="1" kern="1200" dirty="0">
              <a:highlight>
                <a:srgbClr val="FFFF00"/>
              </a:highlight>
              <a:latin typeface="Arial"/>
              <a:cs typeface="Arial" pitchFamily="34" charset="0"/>
            </a:rPr>
            <a:t>hånd</a:t>
          </a:r>
          <a:r>
            <a:rPr lang="da-DK" sz="1100" b="1" kern="1200" dirty="0">
              <a:highlight>
                <a:srgbClr val="C0C0C0"/>
              </a:highlight>
              <a:latin typeface="Arial"/>
              <a:cs typeface="Arial" pitchFamily="34" charset="0"/>
            </a:rPr>
            <a:t>hænder,</a:t>
          </a:r>
          <a:r>
            <a:rPr lang="da-DK" sz="1100" b="1" kern="1200" dirty="0">
              <a:latin typeface="Arial"/>
              <a:cs typeface="Arial" pitchFamily="34" charset="0"/>
            </a:rPr>
            <a:t> </a:t>
          </a:r>
          <a:r>
            <a:rPr lang="da-DK" sz="1100" b="1" kern="1200" dirty="0">
              <a:highlight>
                <a:srgbClr val="FFFF00"/>
              </a:highlight>
              <a:latin typeface="Arial"/>
              <a:cs typeface="Arial" pitchFamily="34" charset="0"/>
            </a:rPr>
            <a:t>og børnehave/</a:t>
          </a:r>
          <a:r>
            <a:rPr lang="da-DK" sz="1100" b="1" kern="1200" dirty="0" err="1">
              <a:highlight>
                <a:srgbClr val="FFFF00"/>
              </a:highlight>
              <a:latin typeface="Arial"/>
              <a:cs typeface="Arial" pitchFamily="34" charset="0"/>
            </a:rPr>
            <a:t>skoleven</a:t>
          </a:r>
          <a:endParaRPr lang="da-DK" sz="1100" b="1" kern="1200" dirty="0">
            <a:highlight>
              <a:srgbClr val="FFFF00"/>
            </a:highlight>
            <a:latin typeface="Arial"/>
            <a:cs typeface="Arial" pitchFamily="34" charset="0"/>
          </a:endParaRPr>
        </a:p>
        <a:p>
          <a:pPr marL="0" lvl="0" indent="0" algn="ctr" defTabSz="488950">
            <a:lnSpc>
              <a:spcPct val="90000"/>
            </a:lnSpc>
            <a:spcBef>
              <a:spcPct val="0"/>
            </a:spcBef>
            <a:spcAft>
              <a:spcPct val="35000"/>
            </a:spcAft>
            <a:buNone/>
          </a:pPr>
          <a:r>
            <a:rPr lang="da-DK" sz="1100" b="1" kern="1200" dirty="0">
              <a:highlight>
                <a:srgbClr val="C0C0C0"/>
              </a:highlight>
              <a:latin typeface="Arial"/>
              <a:cs typeface="Arial" pitchFamily="34" charset="0"/>
            </a:rPr>
            <a:t>bisidder</a:t>
          </a:r>
          <a:endParaRPr lang="da-DK" sz="1100" b="1" kern="1200" dirty="0">
            <a:highlight>
              <a:srgbClr val="C0C0C0"/>
            </a:highlight>
          </a:endParaRPr>
        </a:p>
        <a:p>
          <a:pPr marL="57150" lvl="1" indent="-57150" algn="l" defTabSz="488950">
            <a:lnSpc>
              <a:spcPct val="90000"/>
            </a:lnSpc>
            <a:spcBef>
              <a:spcPct val="0"/>
            </a:spcBef>
            <a:spcAft>
              <a:spcPct val="15000"/>
            </a:spcAft>
            <a:buChar char="•"/>
          </a:pPr>
          <a:endParaRPr lang="da-DK" sz="1100" b="1" kern="1200" dirty="0"/>
        </a:p>
        <a:p>
          <a:pPr marL="57150" lvl="1" indent="-57150" algn="l" defTabSz="488950">
            <a:lnSpc>
              <a:spcPct val="90000"/>
            </a:lnSpc>
            <a:spcBef>
              <a:spcPct val="0"/>
            </a:spcBef>
            <a:spcAft>
              <a:spcPct val="15000"/>
            </a:spcAft>
            <a:buChar char="•"/>
          </a:pPr>
          <a:endParaRPr lang="da-DK" sz="1100" b="1" kern="1200"/>
        </a:p>
        <a:p>
          <a:pPr marL="57150" lvl="1" indent="-57150" algn="l" defTabSz="488950">
            <a:lnSpc>
              <a:spcPct val="90000"/>
            </a:lnSpc>
            <a:spcBef>
              <a:spcPct val="0"/>
            </a:spcBef>
            <a:spcAft>
              <a:spcPct val="15000"/>
            </a:spcAft>
            <a:buChar char="•"/>
          </a:pPr>
          <a:endParaRPr lang="da-DK" sz="1100" b="1" kern="1200" dirty="0"/>
        </a:p>
        <a:p>
          <a:pPr marL="57150" lvl="1" indent="-57150" algn="l" defTabSz="488950">
            <a:lnSpc>
              <a:spcPct val="90000"/>
            </a:lnSpc>
            <a:spcBef>
              <a:spcPct val="0"/>
            </a:spcBef>
            <a:spcAft>
              <a:spcPct val="15000"/>
            </a:spcAft>
            <a:buChar char="•"/>
          </a:pPr>
          <a:endParaRPr lang="da-DK" sz="1100" b="1" kern="1200" dirty="0"/>
        </a:p>
      </dsp:txBody>
      <dsp:txXfrm>
        <a:off x="679539" y="1554165"/>
        <a:ext cx="2079092" cy="771343"/>
      </dsp:txXfrm>
    </dsp:sp>
    <dsp:sp modelId="{1707E6FC-1A44-4C75-8518-76A05ED223A8}">
      <dsp:nvSpPr>
        <dsp:cNvPr id="0" name=""/>
        <dsp:cNvSpPr/>
      </dsp:nvSpPr>
      <dsp:spPr>
        <a:xfrm>
          <a:off x="7384304" y="121671"/>
          <a:ext cx="2079092" cy="1432494"/>
        </a:xfrm>
        <a:prstGeom prst="round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l="-2000" r="-2000"/>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92A8BC0-7CC4-4315-A666-F6A3BC21F2A9}">
      <dsp:nvSpPr>
        <dsp:cNvPr id="0" name=""/>
        <dsp:cNvSpPr/>
      </dsp:nvSpPr>
      <dsp:spPr>
        <a:xfrm>
          <a:off x="2250235" y="3882347"/>
          <a:ext cx="2079092" cy="2649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0" numCol="1" spcCol="1270" anchor="t" anchorCtr="0">
          <a:noAutofit/>
        </a:bodyPr>
        <a:lstStyle/>
        <a:p>
          <a:pPr marL="0" lvl="0" indent="0" algn="ctr" defTabSz="488950">
            <a:lnSpc>
              <a:spcPct val="90000"/>
            </a:lnSpc>
            <a:spcBef>
              <a:spcPct val="0"/>
            </a:spcBef>
            <a:spcAft>
              <a:spcPct val="35000"/>
            </a:spcAft>
            <a:buNone/>
          </a:pPr>
          <a:r>
            <a:rPr lang="da-DK" sz="1100" b="1" kern="1200" dirty="0">
              <a:latin typeface="Arial"/>
              <a:cs typeface="Arial" pitchFamily="34" charset="0"/>
            </a:rPr>
            <a:t>At fremme frivilliges trivsel</a:t>
          </a:r>
          <a:endParaRPr lang="da-DK" sz="1100" b="1" kern="1200" dirty="0"/>
        </a:p>
      </dsp:txBody>
      <dsp:txXfrm>
        <a:off x="2250235" y="3882347"/>
        <a:ext cx="2079092" cy="264933"/>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3D23B77-A12C-41A0-9BA2-71DFD45A73B7}" type="datetimeFigureOut">
              <a:rPr lang="da-DK" smtClean="0"/>
              <a:t>14-01-2024</a:t>
            </a:fld>
            <a:endParaRPr lang="da-DK"/>
          </a:p>
        </p:txBody>
      </p:sp>
      <p:sp>
        <p:nvSpPr>
          <p:cNvPr id="4" name="Pladsholder til sidefod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a-DK"/>
          </a:p>
        </p:txBody>
      </p:sp>
      <p:sp>
        <p:nvSpPr>
          <p:cNvPr id="5" name="Pladsholder til diasnumm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4D3D73B5-78F1-4D7C-B59B-BB22FE6F2A62}" type="slidenum">
              <a:rPr lang="da-DK" smtClean="0"/>
              <a:t>‹nr.›</a:t>
            </a:fld>
            <a:endParaRPr lang="da-DK"/>
          </a:p>
        </p:txBody>
      </p:sp>
    </p:spTree>
    <p:extLst>
      <p:ext uri="{BB962C8B-B14F-4D97-AF65-F5344CB8AC3E}">
        <p14:creationId xmlns:p14="http://schemas.microsoft.com/office/powerpoint/2010/main" val="3869471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8C062806-1435-451F-A1A0-33F32AB28C79}" type="datetimeFigureOut">
              <a:rPr lang="da-DK" smtClean="0"/>
              <a:t>14-01-2024</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E8B23C5F-1057-4D02-8278-9373A9252565}" type="slidenum">
              <a:rPr lang="da-DK" smtClean="0"/>
              <a:t>‹nr.›</a:t>
            </a:fld>
            <a:endParaRPr lang="da-DK"/>
          </a:p>
        </p:txBody>
      </p:sp>
    </p:spTree>
    <p:extLst>
      <p:ext uri="{BB962C8B-B14F-4D97-AF65-F5344CB8AC3E}">
        <p14:creationId xmlns:p14="http://schemas.microsoft.com/office/powerpoint/2010/main" val="2040468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Pladsholder til diasbillede 1"/>
          <p:cNvSpPr>
            <a:spLocks noGrp="1" noRot="1" noChangeAspect="1" noTextEdit="1"/>
          </p:cNvSpPr>
          <p:nvPr>
            <p:ph type="sldImg"/>
          </p:nvPr>
        </p:nvSpPr>
        <p:spPr bwMode="auto">
          <a:xfrm>
            <a:off x="90488" y="744538"/>
            <a:ext cx="6618287"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da-DK" altLang="da-DK" dirty="0"/>
              <a:t>Organisatorisk opbygning – fremhæv det landsdækkende</a:t>
            </a:r>
            <a:r>
              <a:rPr lang="da-DK" altLang="da-DK" baseline="0" dirty="0"/>
              <a:t> medlemskab som en fordel for vores medlemmer og som en positiv opgave for vores frivillige. </a:t>
            </a:r>
          </a:p>
          <a:p>
            <a:pPr eaLnBrk="1" hangingPunct="1"/>
            <a:endParaRPr lang="da-DK" altLang="da-DK" dirty="0"/>
          </a:p>
          <a:p>
            <a:pPr eaLnBrk="1" hangingPunct="1"/>
            <a:r>
              <a:rPr lang="da-DK" altLang="da-DK" dirty="0"/>
              <a:t>Nævne at vores øverste myndighed er Delegeretmødet hvor der kan ændres i vedtægten – og alle 215 lokalafdelinger har en delegeret – ligesom de 9 landsbestyrelsesmedlemmer er delegerede – </a:t>
            </a:r>
            <a:r>
              <a:rPr lang="da-DK" altLang="da-DK" dirty="0" err="1"/>
              <a:t>dvs</a:t>
            </a:r>
            <a:r>
              <a:rPr lang="da-DK" altLang="da-DK" dirty="0"/>
              <a:t> i alt 224 </a:t>
            </a:r>
            <a:r>
              <a:rPr lang="da-DK" altLang="da-DK" dirty="0" err="1"/>
              <a:t>stemmerberettigede</a:t>
            </a:r>
            <a:r>
              <a:rPr lang="da-DK" altLang="da-DK" dirty="0"/>
              <a:t>. Formænd for distrikter og/eller Koordinationsudvalg har ikke stemmeret men deltager og har taleret på Delegeretmødet.</a:t>
            </a:r>
          </a:p>
          <a:p>
            <a:pPr eaLnBrk="1" hangingPunct="1"/>
            <a:endParaRPr lang="da-DK" altLang="da-DK" dirty="0"/>
          </a:p>
          <a:p>
            <a:pPr eaLnBrk="1" hangingPunct="1"/>
            <a:r>
              <a:rPr lang="da-DK" altLang="da-DK" dirty="0"/>
              <a:t>At de 57 Koordinationsudvalg har en koordinerende rolle i de kommuner, hvor der er mere end én lokalafdeling. De skal særligt tage vare på den lokale indflydelse når det gælder den lokale ældre og sundhedspolitiske indsats – herunder også pressekontakt.</a:t>
            </a:r>
          </a:p>
          <a:p>
            <a:pPr eaLnBrk="1" hangingPunct="1"/>
            <a:endParaRPr lang="da-DK" altLang="da-DK" dirty="0"/>
          </a:p>
          <a:p>
            <a:pPr eaLnBrk="1" hangingPunct="1"/>
            <a:r>
              <a:rPr lang="da-DK" altLang="da-DK" dirty="0"/>
              <a:t>Distrikterne vender vi tilbage til.</a:t>
            </a:r>
          </a:p>
          <a:p>
            <a:pPr eaLnBrk="1" hangingPunct="1"/>
            <a:endParaRPr lang="da-DK" altLang="da-DK" dirty="0"/>
          </a:p>
          <a:p>
            <a:pPr eaLnBrk="1" hangingPunct="1"/>
            <a:endParaRPr lang="da-DK" altLang="da-DK" dirty="0"/>
          </a:p>
        </p:txBody>
      </p:sp>
      <p:sp>
        <p:nvSpPr>
          <p:cNvPr id="89092"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875" indent="-285720" eaLnBrk="0" hangingPunct="0">
              <a:spcBef>
                <a:spcPct val="30000"/>
              </a:spcBef>
              <a:defRPr sz="1200">
                <a:solidFill>
                  <a:schemeClr val="tx1"/>
                </a:solidFill>
                <a:latin typeface="Calibri" pitchFamily="34" charset="0"/>
              </a:defRPr>
            </a:lvl2pPr>
            <a:lvl3pPr marL="1142884" indent="-228577" eaLnBrk="0" hangingPunct="0">
              <a:spcBef>
                <a:spcPct val="30000"/>
              </a:spcBef>
              <a:defRPr sz="1200">
                <a:solidFill>
                  <a:schemeClr val="tx1"/>
                </a:solidFill>
                <a:latin typeface="Calibri" pitchFamily="34" charset="0"/>
              </a:defRPr>
            </a:lvl3pPr>
            <a:lvl4pPr marL="1600037" indent="-228577" eaLnBrk="0" hangingPunct="0">
              <a:spcBef>
                <a:spcPct val="30000"/>
              </a:spcBef>
              <a:defRPr sz="1200">
                <a:solidFill>
                  <a:schemeClr val="tx1"/>
                </a:solidFill>
                <a:latin typeface="Calibri" pitchFamily="34" charset="0"/>
              </a:defRPr>
            </a:lvl4pPr>
            <a:lvl5pPr marL="2057190" indent="-228577" eaLnBrk="0" hangingPunct="0">
              <a:spcBef>
                <a:spcPct val="30000"/>
              </a:spcBef>
              <a:defRPr sz="1200">
                <a:solidFill>
                  <a:schemeClr val="tx1"/>
                </a:solidFill>
                <a:latin typeface="Calibri" pitchFamily="34" charset="0"/>
              </a:defRPr>
            </a:lvl5pPr>
            <a:lvl6pPr marL="2514343" indent="-228577" eaLnBrk="0" fontAlgn="base" hangingPunct="0">
              <a:spcBef>
                <a:spcPct val="30000"/>
              </a:spcBef>
              <a:spcAft>
                <a:spcPct val="0"/>
              </a:spcAft>
              <a:defRPr sz="1200">
                <a:solidFill>
                  <a:schemeClr val="tx1"/>
                </a:solidFill>
                <a:latin typeface="Calibri" pitchFamily="34" charset="0"/>
              </a:defRPr>
            </a:lvl6pPr>
            <a:lvl7pPr marL="2971496" indent="-228577" eaLnBrk="0" fontAlgn="base" hangingPunct="0">
              <a:spcBef>
                <a:spcPct val="30000"/>
              </a:spcBef>
              <a:spcAft>
                <a:spcPct val="0"/>
              </a:spcAft>
              <a:defRPr sz="1200">
                <a:solidFill>
                  <a:schemeClr val="tx1"/>
                </a:solidFill>
                <a:latin typeface="Calibri" pitchFamily="34" charset="0"/>
              </a:defRPr>
            </a:lvl7pPr>
            <a:lvl8pPr marL="3428650" indent="-228577" eaLnBrk="0" fontAlgn="base" hangingPunct="0">
              <a:spcBef>
                <a:spcPct val="30000"/>
              </a:spcBef>
              <a:spcAft>
                <a:spcPct val="0"/>
              </a:spcAft>
              <a:defRPr sz="1200">
                <a:solidFill>
                  <a:schemeClr val="tx1"/>
                </a:solidFill>
                <a:latin typeface="Calibri" pitchFamily="34" charset="0"/>
              </a:defRPr>
            </a:lvl8pPr>
            <a:lvl9pPr marL="3885804" indent="-228577"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F51DC3F5-7B22-448B-B618-D4E0C65AFFA5}" type="slidenum">
              <a:rPr kumimoji="0" lang="da-DK" altLang="da-DK"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auto" latinLnBrk="0" hangingPunct="1">
                <a:lnSpc>
                  <a:spcPct val="100000"/>
                </a:lnSpc>
                <a:spcBef>
                  <a:spcPct val="0"/>
                </a:spcBef>
                <a:spcAft>
                  <a:spcPts val="0"/>
                </a:spcAft>
                <a:buClrTx/>
                <a:buSzTx/>
                <a:buFontTx/>
                <a:buNone/>
                <a:tabLst/>
                <a:defRPr/>
              </a:pPr>
              <a:t>1</a:t>
            </a:fld>
            <a:endParaRPr kumimoji="0" lang="da-DK" altLang="da-DK"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E8B23C5F-1057-4D02-8278-9373A9252565}" type="slidenum">
              <a:rPr lang="da-DK" smtClean="0"/>
              <a:t>12</a:t>
            </a:fld>
            <a:endParaRPr lang="da-DK"/>
          </a:p>
        </p:txBody>
      </p:sp>
    </p:spTree>
    <p:extLst>
      <p:ext uri="{BB962C8B-B14F-4D97-AF65-F5344CB8AC3E}">
        <p14:creationId xmlns:p14="http://schemas.microsoft.com/office/powerpoint/2010/main" val="4256734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90488" y="744538"/>
            <a:ext cx="6618287" cy="3724275"/>
          </a:xfrm>
        </p:spPr>
      </p:sp>
      <p:sp>
        <p:nvSpPr>
          <p:cNvPr id="3" name="Pladsholder til noter 2"/>
          <p:cNvSpPr>
            <a:spLocks noGrp="1"/>
          </p:cNvSpPr>
          <p:nvPr>
            <p:ph type="body" idx="1"/>
          </p:nvPr>
        </p:nvSpPr>
        <p:spPr/>
        <p:txBody>
          <a:bodyPr/>
          <a:lstStyle/>
          <a:p>
            <a:r>
              <a:rPr lang="da-DK" dirty="0"/>
              <a:t>De følgende 3 slides handler om hvordan vi som organisation ser på rammer for frivilliges indsats.</a:t>
            </a:r>
          </a:p>
          <a:p>
            <a:r>
              <a:rPr lang="da-DK" baseline="0" dirty="0"/>
              <a:t>Udover at gennemgå siderne – så kan det være en god anledning til at høre deltagerne om det er genkendeligt </a:t>
            </a:r>
            <a:r>
              <a:rPr lang="da-DK" baseline="0" dirty="0" err="1"/>
              <a:t>ifht</a:t>
            </a:r>
            <a:r>
              <a:rPr lang="da-DK" baseline="0" dirty="0"/>
              <a:t> den introduktion de har mødt i deres lokalafdeling – og hvis der kommer meldinger om at de på ingen måde har oplevet at blive introduceret lokalt – så kan vi opfordre til at de går hjem og tager en snak med bestyrelsen eller deres kontaktperson.</a:t>
            </a:r>
          </a:p>
          <a:p>
            <a:endParaRPr lang="da-DK" baseline="0" dirty="0"/>
          </a:p>
          <a:p>
            <a:endParaRPr lang="da-DK" dirty="0"/>
          </a:p>
        </p:txBody>
      </p:sp>
      <p:sp>
        <p:nvSpPr>
          <p:cNvPr id="4" name="Pladsholder til diasnummer 3"/>
          <p:cNvSpPr>
            <a:spLocks noGrp="1"/>
          </p:cNvSpPr>
          <p:nvPr>
            <p:ph type="sldNum" sz="quarter" idx="10"/>
          </p:nvPr>
        </p:nvSpPr>
        <p:spPr/>
        <p:txBody>
          <a:bodyPr/>
          <a:lstStyle/>
          <a:p>
            <a:fld id="{B21C84BB-83EC-4211-ABF3-B089728DB343}" type="slidenum">
              <a:rPr lang="da-DK" smtClean="0"/>
              <a:t>14</a:t>
            </a:fld>
            <a:endParaRPr lang="da-DK"/>
          </a:p>
        </p:txBody>
      </p:sp>
    </p:spTree>
    <p:extLst>
      <p:ext uri="{BB962C8B-B14F-4D97-AF65-F5344CB8AC3E}">
        <p14:creationId xmlns:p14="http://schemas.microsoft.com/office/powerpoint/2010/main" val="524520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Pladsholder til diasbillede 1"/>
          <p:cNvSpPr>
            <a:spLocks noGrp="1" noRot="1" noChangeAspect="1" noTextEdit="1"/>
          </p:cNvSpPr>
          <p:nvPr>
            <p:ph type="sldImg"/>
          </p:nvPr>
        </p:nvSpPr>
        <p:spPr bwMode="auto">
          <a:xfrm>
            <a:off x="90488" y="744538"/>
            <a:ext cx="6618287"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da-DK" altLang="da-DK" dirty="0" err="1"/>
              <a:t>Ultra</a:t>
            </a:r>
            <a:r>
              <a:rPr lang="da-DK" altLang="da-DK" dirty="0"/>
              <a:t> kort om hvordan ÆS har</a:t>
            </a:r>
            <a:r>
              <a:rPr lang="da-DK" altLang="da-DK" baseline="0" dirty="0"/>
              <a:t> inddelt landet i 10 distrikter </a:t>
            </a:r>
            <a:endParaRPr lang="da-DK" altLang="da-DK" dirty="0"/>
          </a:p>
        </p:txBody>
      </p:sp>
      <p:sp>
        <p:nvSpPr>
          <p:cNvPr id="91140"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875" indent="-285720" eaLnBrk="0" hangingPunct="0">
              <a:spcBef>
                <a:spcPct val="30000"/>
              </a:spcBef>
              <a:defRPr sz="1200">
                <a:solidFill>
                  <a:schemeClr val="tx1"/>
                </a:solidFill>
                <a:latin typeface="Calibri" pitchFamily="34" charset="0"/>
              </a:defRPr>
            </a:lvl2pPr>
            <a:lvl3pPr marL="1142884" indent="-228577" eaLnBrk="0" hangingPunct="0">
              <a:spcBef>
                <a:spcPct val="30000"/>
              </a:spcBef>
              <a:defRPr sz="1200">
                <a:solidFill>
                  <a:schemeClr val="tx1"/>
                </a:solidFill>
                <a:latin typeface="Calibri" pitchFamily="34" charset="0"/>
              </a:defRPr>
            </a:lvl3pPr>
            <a:lvl4pPr marL="1600037" indent="-228577" eaLnBrk="0" hangingPunct="0">
              <a:spcBef>
                <a:spcPct val="30000"/>
              </a:spcBef>
              <a:defRPr sz="1200">
                <a:solidFill>
                  <a:schemeClr val="tx1"/>
                </a:solidFill>
                <a:latin typeface="Calibri" pitchFamily="34" charset="0"/>
              </a:defRPr>
            </a:lvl4pPr>
            <a:lvl5pPr marL="2057190" indent="-228577" eaLnBrk="0" hangingPunct="0">
              <a:spcBef>
                <a:spcPct val="30000"/>
              </a:spcBef>
              <a:defRPr sz="1200">
                <a:solidFill>
                  <a:schemeClr val="tx1"/>
                </a:solidFill>
                <a:latin typeface="Calibri" pitchFamily="34" charset="0"/>
              </a:defRPr>
            </a:lvl5pPr>
            <a:lvl6pPr marL="2514343" indent="-228577" eaLnBrk="0" fontAlgn="base" hangingPunct="0">
              <a:spcBef>
                <a:spcPct val="30000"/>
              </a:spcBef>
              <a:spcAft>
                <a:spcPct val="0"/>
              </a:spcAft>
              <a:defRPr sz="1200">
                <a:solidFill>
                  <a:schemeClr val="tx1"/>
                </a:solidFill>
                <a:latin typeface="Calibri" pitchFamily="34" charset="0"/>
              </a:defRPr>
            </a:lvl6pPr>
            <a:lvl7pPr marL="2971496" indent="-228577" eaLnBrk="0" fontAlgn="base" hangingPunct="0">
              <a:spcBef>
                <a:spcPct val="30000"/>
              </a:spcBef>
              <a:spcAft>
                <a:spcPct val="0"/>
              </a:spcAft>
              <a:defRPr sz="1200">
                <a:solidFill>
                  <a:schemeClr val="tx1"/>
                </a:solidFill>
                <a:latin typeface="Calibri" pitchFamily="34" charset="0"/>
              </a:defRPr>
            </a:lvl7pPr>
            <a:lvl8pPr marL="3428650" indent="-228577" eaLnBrk="0" fontAlgn="base" hangingPunct="0">
              <a:spcBef>
                <a:spcPct val="30000"/>
              </a:spcBef>
              <a:spcAft>
                <a:spcPct val="0"/>
              </a:spcAft>
              <a:defRPr sz="1200">
                <a:solidFill>
                  <a:schemeClr val="tx1"/>
                </a:solidFill>
                <a:latin typeface="Calibri" pitchFamily="34" charset="0"/>
              </a:defRPr>
            </a:lvl8pPr>
            <a:lvl9pPr marL="3885804" indent="-228577"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5BCB7BE-BA09-4228-B8B2-9BDF59BF7D5F}" type="slidenum">
              <a:rPr lang="da-DK" altLang="da-DK" smtClean="0">
                <a:solidFill>
                  <a:prstClr val="black"/>
                </a:solidFill>
                <a:latin typeface="Arial" charset="0"/>
                <a:cs typeface="Arial" charset="0"/>
              </a:rPr>
              <a:pPr eaLnBrk="1" hangingPunct="1">
                <a:spcBef>
                  <a:spcPct val="0"/>
                </a:spcBef>
              </a:pPr>
              <a:t>2</a:t>
            </a:fld>
            <a:endParaRPr lang="da-DK" altLang="da-DK">
              <a:solidFill>
                <a:prstClr val="black"/>
              </a:solidFill>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ilde: Nyeste årsrapport og </a:t>
            </a:r>
            <a:r>
              <a:rPr lang="da-DK" dirty="0" err="1"/>
              <a:t>ÆS´s</a:t>
            </a:r>
            <a:r>
              <a:rPr lang="da-DK" dirty="0"/>
              <a:t> hjemmeside</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23C5F-1057-4D02-8278-9373A925256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621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iden starten af Ældre Sagen i 1987 har vi arbejdet </a:t>
            </a:r>
            <a:r>
              <a:rPr lang="da-DK" dirty="0" err="1"/>
              <a:t>udfra</a:t>
            </a:r>
            <a:r>
              <a:rPr lang="da-DK" dirty="0"/>
              <a:t> det samme idegrundlag – hvilket vi med god grund kan sige har været et vellykket afsæt for </a:t>
            </a:r>
            <a:r>
              <a:rPr lang="da-DK" dirty="0" err="1"/>
              <a:t>ÆS´s</a:t>
            </a:r>
            <a:r>
              <a:rPr lang="da-DK" dirty="0"/>
              <a:t> store succes.</a:t>
            </a:r>
          </a:p>
          <a:p>
            <a:r>
              <a:rPr lang="da-DK" dirty="0"/>
              <a:t>Ældre Sagen er ikke politisk – men kæmper for en værdig ældrepolitik som ikke handler om farve eller religion.</a:t>
            </a:r>
          </a:p>
        </p:txBody>
      </p:sp>
      <p:sp>
        <p:nvSpPr>
          <p:cNvPr id="4" name="Pladsholder til diasnummer 3"/>
          <p:cNvSpPr>
            <a:spLocks noGrp="1"/>
          </p:cNvSpPr>
          <p:nvPr>
            <p:ph type="sldNum" sz="quarter" idx="10"/>
          </p:nvPr>
        </p:nvSpPr>
        <p:spPr/>
        <p:txBody>
          <a:bodyPr/>
          <a:lstStyle/>
          <a:p>
            <a:fld id="{354C4475-3E94-479C-AEFB-C09AA5491272}" type="slidenum">
              <a:rPr lang="da-DK" smtClean="0"/>
              <a:t>4</a:t>
            </a:fld>
            <a:endParaRPr lang="da-DK"/>
          </a:p>
        </p:txBody>
      </p:sp>
    </p:spTree>
    <p:extLst>
      <p:ext uri="{BB962C8B-B14F-4D97-AF65-F5344CB8AC3E}">
        <p14:creationId xmlns:p14="http://schemas.microsoft.com/office/powerpoint/2010/main" val="2791652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E3ACD7F9-A28B-4372-A94C-2FDC6E690583}" type="slidenum">
              <a:rPr kumimoji="0" lang="da-DK" altLang="da-DK" sz="1200" b="0" i="0" u="none" strike="noStrike" kern="1200" cap="none" spc="0" normalizeH="0" baseline="0" noProof="0" smtClean="0">
                <a:ln>
                  <a:noFill/>
                </a:ln>
                <a:solidFill>
                  <a:prstClr val="black"/>
                </a:solidFill>
                <a:effectLst/>
                <a:uLnTx/>
                <a:uFillTx/>
                <a:latin typeface="Times" pitchFamily="18" charset="0"/>
                <a:ea typeface="+mn-ea"/>
                <a:cs typeface="Arial" charset="0"/>
              </a:rPr>
              <a:pPr marL="0" marR="0" lvl="0" indent="0" algn="r" defTabSz="914400" rtl="0" eaLnBrk="1" fontAlgn="auto" latinLnBrk="0" hangingPunct="1">
                <a:lnSpc>
                  <a:spcPct val="100000"/>
                </a:lnSpc>
                <a:spcBef>
                  <a:spcPct val="0"/>
                </a:spcBef>
                <a:spcAft>
                  <a:spcPts val="0"/>
                </a:spcAft>
                <a:buClrTx/>
                <a:buSzTx/>
                <a:buFontTx/>
                <a:buNone/>
                <a:tabLst/>
                <a:defRPr/>
              </a:pPr>
              <a:t>5</a:t>
            </a:fld>
            <a:endParaRPr kumimoji="0" lang="da-DK" altLang="da-DK" sz="1200" b="0" i="0" u="none" strike="noStrike" kern="1200" cap="none" spc="0" normalizeH="0" baseline="0" noProof="0">
              <a:ln>
                <a:noFill/>
              </a:ln>
              <a:solidFill>
                <a:prstClr val="black"/>
              </a:solidFill>
              <a:effectLst/>
              <a:uLnTx/>
              <a:uFillTx/>
              <a:latin typeface="Times" pitchFamily="18" charset="0"/>
              <a:ea typeface="+mn-ea"/>
              <a:cs typeface="Arial" charset="0"/>
            </a:endParaRPr>
          </a:p>
        </p:txBody>
      </p:sp>
      <p:sp>
        <p:nvSpPr>
          <p:cNvPr id="8806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a-DK" altLang="da-DK" dirty="0"/>
          </a:p>
        </p:txBody>
      </p:sp>
    </p:spTree>
    <p:extLst>
      <p:ext uri="{BB962C8B-B14F-4D97-AF65-F5344CB8AC3E}">
        <p14:creationId xmlns:p14="http://schemas.microsoft.com/office/powerpoint/2010/main" val="3344138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Pladsholder til diasbillede 1"/>
          <p:cNvSpPr>
            <a:spLocks noGrp="1" noRot="1" noChangeAspect="1" noTextEdit="1"/>
          </p:cNvSpPr>
          <p:nvPr>
            <p:ph type="sldImg"/>
          </p:nvPr>
        </p:nvSpPr>
        <p:spPr bwMode="auto">
          <a:xfrm>
            <a:off x="90488" y="744538"/>
            <a:ext cx="6618287"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pPr eaLnBrk="1" hangingPunct="1"/>
            <a:r>
              <a:rPr lang="da-DK" altLang="da-DK" dirty="0"/>
              <a:t>Uagtet hvor i organisationen vi virker – yder en indsats – gør en forskel så bygger vores gøren og laden på 3 fælles værdier.</a:t>
            </a:r>
          </a:p>
          <a:p>
            <a:pPr eaLnBrk="1" hangingPunct="1"/>
            <a:r>
              <a:rPr lang="da-DK" altLang="da-DK" dirty="0"/>
              <a:t>Nærvær,</a:t>
            </a:r>
            <a:r>
              <a:rPr lang="da-DK" altLang="da-DK" baseline="0" dirty="0"/>
              <a:t> indsigt og handlekraft.</a:t>
            </a:r>
          </a:p>
          <a:p>
            <a:pPr eaLnBrk="1" hangingPunct="1"/>
            <a:endParaRPr lang="da-DK" alt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b="1" baseline="0" dirty="0"/>
              <a:t>Nærvær</a:t>
            </a:r>
            <a:r>
              <a:rPr lang="da-DK" altLang="da-DK" baseline="0" dirty="0"/>
              <a:t> Fx Besøgsvennen der er i mødet opdager en brist/svigt i omsorgen. Mange frivillige er ude hos såvel medlemmer som ikke medlemmer, via sociale aktiviteter, som ofte foregår 1 til 1. Frivillige mødes direkte med medlemmer og ikke medlemmer – fx via cafeer, ture og arrangementer, som er netværksskabende. Frivillige får en stor indsigt i lokale forhold for ældre, eksempelvis i forhold til hvordan kommunen bruger ældremilliarden. og hvordan det går med genoptræni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alt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b="1" baseline="0" dirty="0"/>
              <a:t>Indsigt</a:t>
            </a:r>
            <a:r>
              <a:rPr lang="da-DK" altLang="da-DK" baseline="0" dirty="0"/>
              <a:t> – det får I som frivillige i en række væsentlige forhold som ældre i Jeres kommune bliver mødt me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baseline="0" dirty="0"/>
              <a:t>Den indsigt skal gerne formidles videre til den ældrepolitiske del af bestyrelsen.</a:t>
            </a:r>
          </a:p>
          <a:p>
            <a:pPr eaLnBrk="1" hangingPunct="1"/>
            <a:r>
              <a:rPr lang="da-DK" altLang="da-DK" baseline="0" dirty="0"/>
              <a:t>Det kan være rigtig gode forhold, men ofte får I også øje på en række uhensigtsmæssige forhold. Det kan eksempelvis være, at der mangler tilbud til ældre i forhold til mulighed for personlig kontakt med kommunen grundet en lukning af de lokale borgerservicecentre. Eller det kan være manglende sammenhæng når en ældre har været indlagt på sygehus og udskrives uden at der er sørget for hjemmehjælp. </a:t>
            </a:r>
          </a:p>
          <a:p>
            <a:pPr eaLnBrk="1" hangingPunct="1"/>
            <a:r>
              <a:rPr lang="da-DK" altLang="da-DK" baseline="0" dirty="0"/>
              <a:t>Den indsigt vi får skal vi omsætte i aktiviteter, politiktiltag lokalt via lokalafdelingen og nationalt via landsforeningen.</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baseline="0" dirty="0"/>
              <a:t>Og indsigt skal gerne omsættes til handlekraft, som bevirker at vi lokalt som nationalt arbejder på at ændre præmissen for ældre lokal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baseline="0" dirty="0"/>
              <a:t>Uden frivillige har vi ”ingen arme og ingen ben”. </a:t>
            </a:r>
          </a:p>
          <a:p>
            <a:pPr eaLnBrk="1" hangingPunct="1"/>
            <a:endParaRPr lang="da-DK" altLang="da-DK" baseline="0" dirty="0"/>
          </a:p>
          <a:p>
            <a:pPr eaLnBrk="1" hangingPunct="1"/>
            <a:r>
              <a:rPr lang="da-DK" altLang="da-DK" b="1" baseline="0" dirty="0"/>
              <a:t>Handlekraft</a:t>
            </a:r>
            <a:r>
              <a:rPr lang="da-DK" altLang="da-DK" baseline="0" dirty="0"/>
              <a:t> udvirkes lokalt som nationalt. Vi omsætter med andre ord indsigt til handlekraft fordi vi reagerer på de oplevelser som frivillige og lokalbestyrelse får via Jeres store netværk. Det kan være I sætter gang i nye aktiviteter fordi I oplever et behov, det kunne være opstart af et herreværelse, opstart af vågetjeneste, besøgsvennetjeneste eller lignende. Det kan være en henvendelse til rette vedkommende i kommunen for at påpege uhensigtsmæssigheder.</a:t>
            </a:r>
          </a:p>
          <a:p>
            <a:pPr eaLnBrk="1" hangingPunct="1"/>
            <a:endParaRPr lang="da-DK" altLang="da-DK" baseline="0" dirty="0"/>
          </a:p>
          <a:p>
            <a:pPr eaLnBrk="1" hangingPunct="1"/>
            <a:r>
              <a:rPr lang="da-DK" altLang="da-DK" baseline="0" dirty="0"/>
              <a:t>Et konkret og kendt eksempel på hvor Ældre Sagens værdier har virket er Folkebevægelsen mod Ensomhed. En række frivillige reagerede på at de mødte så mange ældre som var ensomme – og undersøgelser bekræftede det skræmmende billede – ÆS tog initiativ til at starte Folkebevægelsen mod ensomhed, som har vokset sig stor og handlekraftig. Og nu presser på for at få en egentlig nationale handlingsplan for at bekæmpe ensomhed – hos unge som hos gamle.</a:t>
            </a:r>
          </a:p>
          <a:p>
            <a:pPr eaLnBrk="1" hangingPunct="1"/>
            <a:endParaRPr lang="da-DK" altLang="da-DK" baseline="0" dirty="0"/>
          </a:p>
          <a:p>
            <a:pPr eaLnBrk="1" hangingPunct="1"/>
            <a:endParaRPr lang="da-DK" altLang="da-DK" dirty="0"/>
          </a:p>
        </p:txBody>
      </p:sp>
      <p:sp>
        <p:nvSpPr>
          <p:cNvPr id="87044"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875" indent="-285720" eaLnBrk="0" hangingPunct="0">
              <a:spcBef>
                <a:spcPct val="30000"/>
              </a:spcBef>
              <a:defRPr sz="1200">
                <a:solidFill>
                  <a:schemeClr val="tx1"/>
                </a:solidFill>
                <a:latin typeface="Calibri" pitchFamily="34" charset="0"/>
              </a:defRPr>
            </a:lvl2pPr>
            <a:lvl3pPr marL="1142884" indent="-228577" eaLnBrk="0" hangingPunct="0">
              <a:spcBef>
                <a:spcPct val="30000"/>
              </a:spcBef>
              <a:defRPr sz="1200">
                <a:solidFill>
                  <a:schemeClr val="tx1"/>
                </a:solidFill>
                <a:latin typeface="Calibri" pitchFamily="34" charset="0"/>
              </a:defRPr>
            </a:lvl3pPr>
            <a:lvl4pPr marL="1600037" indent="-228577" eaLnBrk="0" hangingPunct="0">
              <a:spcBef>
                <a:spcPct val="30000"/>
              </a:spcBef>
              <a:defRPr sz="1200">
                <a:solidFill>
                  <a:schemeClr val="tx1"/>
                </a:solidFill>
                <a:latin typeface="Calibri" pitchFamily="34" charset="0"/>
              </a:defRPr>
            </a:lvl4pPr>
            <a:lvl5pPr marL="2057190" indent="-228577" eaLnBrk="0" hangingPunct="0">
              <a:spcBef>
                <a:spcPct val="30000"/>
              </a:spcBef>
              <a:defRPr sz="1200">
                <a:solidFill>
                  <a:schemeClr val="tx1"/>
                </a:solidFill>
                <a:latin typeface="Calibri" pitchFamily="34" charset="0"/>
              </a:defRPr>
            </a:lvl5pPr>
            <a:lvl6pPr marL="2514343" indent="-228577" eaLnBrk="0" fontAlgn="base" hangingPunct="0">
              <a:spcBef>
                <a:spcPct val="30000"/>
              </a:spcBef>
              <a:spcAft>
                <a:spcPct val="0"/>
              </a:spcAft>
              <a:defRPr sz="1200">
                <a:solidFill>
                  <a:schemeClr val="tx1"/>
                </a:solidFill>
                <a:latin typeface="Calibri" pitchFamily="34" charset="0"/>
              </a:defRPr>
            </a:lvl6pPr>
            <a:lvl7pPr marL="2971496" indent="-228577" eaLnBrk="0" fontAlgn="base" hangingPunct="0">
              <a:spcBef>
                <a:spcPct val="30000"/>
              </a:spcBef>
              <a:spcAft>
                <a:spcPct val="0"/>
              </a:spcAft>
              <a:defRPr sz="1200">
                <a:solidFill>
                  <a:schemeClr val="tx1"/>
                </a:solidFill>
                <a:latin typeface="Calibri" pitchFamily="34" charset="0"/>
              </a:defRPr>
            </a:lvl7pPr>
            <a:lvl8pPr marL="3428650" indent="-228577" eaLnBrk="0" fontAlgn="base" hangingPunct="0">
              <a:spcBef>
                <a:spcPct val="30000"/>
              </a:spcBef>
              <a:spcAft>
                <a:spcPct val="0"/>
              </a:spcAft>
              <a:defRPr sz="1200">
                <a:solidFill>
                  <a:schemeClr val="tx1"/>
                </a:solidFill>
                <a:latin typeface="Calibri" pitchFamily="34" charset="0"/>
              </a:defRPr>
            </a:lvl8pPr>
            <a:lvl9pPr marL="3885804" indent="-228577"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00602C9C-7504-4DD7-8342-24E92E0C1994}" type="slidenum">
              <a:rPr lang="da-DK" altLang="da-DK" smtClean="0">
                <a:solidFill>
                  <a:prstClr val="black"/>
                </a:solidFill>
                <a:latin typeface="Arial" charset="0"/>
                <a:cs typeface="Arial" charset="0"/>
              </a:rPr>
              <a:pPr eaLnBrk="1" hangingPunct="1">
                <a:spcBef>
                  <a:spcPct val="0"/>
                </a:spcBef>
              </a:pPr>
              <a:t>6</a:t>
            </a:fld>
            <a:endParaRPr lang="da-DK" altLang="da-DK">
              <a:solidFill>
                <a:prstClr val="black"/>
              </a:solidFill>
              <a:latin typeface="Arial" charset="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E3ACD7F9-A28B-4372-A94C-2FDC6E690583}" type="slidenum">
              <a:rPr kumimoji="0" lang="da-DK" altLang="da-DK" sz="1200" b="0" i="0" u="none" strike="noStrike" kern="1200" cap="none" spc="0" normalizeH="0" baseline="0" noProof="0" smtClean="0">
                <a:ln>
                  <a:noFill/>
                </a:ln>
                <a:solidFill>
                  <a:prstClr val="black"/>
                </a:solidFill>
                <a:effectLst/>
                <a:uLnTx/>
                <a:uFillTx/>
                <a:latin typeface="Times" pitchFamily="18" charset="0"/>
                <a:ea typeface="+mn-ea"/>
                <a:cs typeface="Arial" charset="0"/>
              </a:rPr>
              <a:pPr marL="0" marR="0" lvl="0" indent="0" algn="r" defTabSz="914400" rtl="0" eaLnBrk="1" fontAlgn="auto" latinLnBrk="0" hangingPunct="1">
                <a:lnSpc>
                  <a:spcPct val="100000"/>
                </a:lnSpc>
                <a:spcBef>
                  <a:spcPct val="0"/>
                </a:spcBef>
                <a:spcAft>
                  <a:spcPts val="0"/>
                </a:spcAft>
                <a:buClrTx/>
                <a:buSzTx/>
                <a:buFontTx/>
                <a:buNone/>
                <a:tabLst/>
                <a:defRPr/>
              </a:pPr>
              <a:t>7</a:t>
            </a:fld>
            <a:endParaRPr kumimoji="0" lang="da-DK" altLang="da-DK" sz="1200" b="0" i="0" u="none" strike="noStrike" kern="1200" cap="none" spc="0" normalizeH="0" baseline="0" noProof="0">
              <a:ln>
                <a:noFill/>
              </a:ln>
              <a:solidFill>
                <a:prstClr val="black"/>
              </a:solidFill>
              <a:effectLst/>
              <a:uLnTx/>
              <a:uFillTx/>
              <a:latin typeface="Times" pitchFamily="18" charset="0"/>
              <a:ea typeface="+mn-ea"/>
              <a:cs typeface="Arial" charset="0"/>
            </a:endParaRPr>
          </a:p>
        </p:txBody>
      </p:sp>
      <p:sp>
        <p:nvSpPr>
          <p:cNvPr id="8806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a-DK" altLang="da-DK" dirty="0"/>
          </a:p>
        </p:txBody>
      </p:sp>
    </p:spTree>
    <p:extLst>
      <p:ext uri="{BB962C8B-B14F-4D97-AF65-F5344CB8AC3E}">
        <p14:creationId xmlns:p14="http://schemas.microsoft.com/office/powerpoint/2010/main" val="2683483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E3ACD7F9-A28B-4372-A94C-2FDC6E690583}" type="slidenum">
              <a:rPr kumimoji="0" lang="da-DK" altLang="da-DK" sz="1200" b="0" i="0" u="none" strike="noStrike" kern="1200" cap="none" spc="0" normalizeH="0" baseline="0" noProof="0" smtClean="0">
                <a:ln>
                  <a:noFill/>
                </a:ln>
                <a:solidFill>
                  <a:prstClr val="black"/>
                </a:solidFill>
                <a:effectLst/>
                <a:uLnTx/>
                <a:uFillTx/>
                <a:latin typeface="Times" pitchFamily="18" charset="0"/>
                <a:ea typeface="+mn-ea"/>
                <a:cs typeface="Arial" charset="0"/>
              </a:rPr>
              <a:pPr marL="0" marR="0" lvl="0" indent="0" algn="r" defTabSz="914400" rtl="0" eaLnBrk="1" fontAlgn="auto" latinLnBrk="0" hangingPunct="1">
                <a:lnSpc>
                  <a:spcPct val="100000"/>
                </a:lnSpc>
                <a:spcBef>
                  <a:spcPct val="0"/>
                </a:spcBef>
                <a:spcAft>
                  <a:spcPts val="0"/>
                </a:spcAft>
                <a:buClrTx/>
                <a:buSzTx/>
                <a:buFontTx/>
                <a:buNone/>
                <a:tabLst/>
                <a:defRPr/>
              </a:pPr>
              <a:t>8</a:t>
            </a:fld>
            <a:endParaRPr kumimoji="0" lang="da-DK" altLang="da-DK" sz="1200" b="0" i="0" u="none" strike="noStrike" kern="1200" cap="none" spc="0" normalizeH="0" baseline="0" noProof="0">
              <a:ln>
                <a:noFill/>
              </a:ln>
              <a:solidFill>
                <a:prstClr val="black"/>
              </a:solidFill>
              <a:effectLst/>
              <a:uLnTx/>
              <a:uFillTx/>
              <a:latin typeface="Times" pitchFamily="18" charset="0"/>
              <a:ea typeface="+mn-ea"/>
              <a:cs typeface="Arial" charset="0"/>
            </a:endParaRPr>
          </a:p>
        </p:txBody>
      </p:sp>
      <p:sp>
        <p:nvSpPr>
          <p:cNvPr id="8806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a-DK" altLang="da-DK" dirty="0"/>
          </a:p>
        </p:txBody>
      </p:sp>
    </p:spTree>
    <p:extLst>
      <p:ext uri="{BB962C8B-B14F-4D97-AF65-F5344CB8AC3E}">
        <p14:creationId xmlns:p14="http://schemas.microsoft.com/office/powerpoint/2010/main" val="3943141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E8B23C5F-1057-4D02-8278-9373A9252565}" type="slidenum">
              <a:rPr lang="da-DK" smtClean="0"/>
              <a:t>9</a:t>
            </a:fld>
            <a:endParaRPr lang="da-DK"/>
          </a:p>
        </p:txBody>
      </p:sp>
    </p:spTree>
    <p:extLst>
      <p:ext uri="{BB962C8B-B14F-4D97-AF65-F5344CB8AC3E}">
        <p14:creationId xmlns:p14="http://schemas.microsoft.com/office/powerpoint/2010/main" val="31010517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1013"/>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2" y="2396921"/>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val="0"/>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923835"/>
            <a:ext cx="12192000" cy="595035"/>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
        <p:nvSpPr>
          <p:cNvPr id="10" name="Rektangel 9"/>
          <p:cNvSpPr/>
          <p:nvPr userDrawn="1"/>
        </p:nvSpPr>
        <p:spPr>
          <a:xfrm>
            <a:off x="0" y="5334780"/>
            <a:ext cx="12192000" cy="595035"/>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Tree>
    <p:extLst>
      <p:ext uri="{BB962C8B-B14F-4D97-AF65-F5344CB8AC3E}">
        <p14:creationId xmlns:p14="http://schemas.microsoft.com/office/powerpoint/2010/main" val="780630406"/>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1013" y="327094"/>
            <a:ext cx="5719233" cy="5910263"/>
          </a:xfrm>
        </p:spPr>
        <p:txBody>
          <a:bodyPr anchor="t"/>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
        <p:nvSpPr>
          <p:cNvPr id="3" name="Pladsholder til diasnummer 2"/>
          <p:cNvSpPr>
            <a:spLocks noGrp="1"/>
          </p:cNvSpPr>
          <p:nvPr>
            <p:ph type="sldNum" sz="quarter" idx="16"/>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998903355"/>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PhAnim="0" preserve="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3600">
                <a:solidFill>
                  <a:schemeClr val="tx2"/>
                </a:solidFill>
              </a:defRPr>
            </a:lvl1pPr>
          </a:lstStyle>
          <a:p>
            <a:pPr lvl="0"/>
            <a:r>
              <a:rPr lang="da-DK"/>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sp>
        <p:nvSpPr>
          <p:cNvPr id="4"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accent1"/>
                </a:solidFill>
                <a:latin typeface="Arial"/>
                <a:cs typeface="Arial"/>
              </a:defRPr>
            </a:lvl1pPr>
          </a:lstStyle>
          <a:p>
            <a:pPr lvl="0"/>
            <a:r>
              <a:rPr lang="da-DK"/>
              <a:t>Rediger typografien i masteren</a:t>
            </a:r>
          </a:p>
        </p:txBody>
      </p:sp>
    </p:spTree>
    <p:extLst>
      <p:ext uri="{BB962C8B-B14F-4D97-AF65-F5344CB8AC3E}">
        <p14:creationId xmlns:p14="http://schemas.microsoft.com/office/powerpoint/2010/main" val="2166618325"/>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showMasterPhAnim="0" preserve="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2"/>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a:t>Klik for at tilføje tekst</a:t>
            </a:r>
          </a:p>
        </p:txBody>
      </p:sp>
      <p:sp>
        <p:nvSpPr>
          <p:cNvPr id="7" name="Pladsholder til indhold 6"/>
          <p:cNvSpPr>
            <a:spLocks noGrp="1"/>
          </p:cNvSpPr>
          <p:nvPr>
            <p:ph sz="quarter" idx="15" hasCustomPrompt="1"/>
          </p:nvPr>
        </p:nvSpPr>
        <p:spPr>
          <a:xfrm>
            <a:off x="6040968" y="327026"/>
            <a:ext cx="5719233" cy="59102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a:t>Klik for at tilføje tekst</a:t>
            </a:r>
          </a:p>
        </p:txBody>
      </p:sp>
      <p:pic>
        <p:nvPicPr>
          <p:cNvPr id="8" name="ÆS_logo_POS_CMYK.pdf"/>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pic>
        <p:nvPicPr>
          <p:cNvPr id="9" name="ÆS_logo_POS_CMYK.pdf">
            <a:extLst>
              <a:ext uri="{FF2B5EF4-FFF2-40B4-BE49-F238E27FC236}">
                <a16:creationId xmlns:a16="http://schemas.microsoft.com/office/drawing/2014/main" id="{390326DF-A8CF-334C-9A56-96280F9CF5F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3417029341"/>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showMasterPhAnim="0" preserve="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a:t>Klik for at tilføje tekst</a:t>
            </a:r>
          </a:p>
        </p:txBody>
      </p:sp>
      <p:sp>
        <p:nvSpPr>
          <p:cNvPr id="3" name="Pladsholder til billede 2"/>
          <p:cNvSpPr>
            <a:spLocks noGrp="1"/>
          </p:cNvSpPr>
          <p:nvPr>
            <p:ph type="pic" sz="quarter" idx="11" hasCustomPrompt="1"/>
          </p:nvPr>
        </p:nvSpPr>
        <p:spPr>
          <a:xfrm>
            <a:off x="503767" y="349251"/>
            <a:ext cx="11228917" cy="4211205"/>
          </a:xfrm>
        </p:spPr>
        <p:txBody>
          <a:bodyPr/>
          <a:lstStyle/>
          <a:p>
            <a:r>
              <a:rPr lang="da-DK"/>
              <a:t>Klik på ikonet for at tilføje et billede</a:t>
            </a:r>
          </a:p>
        </p:txBody>
      </p:sp>
      <p:sp>
        <p:nvSpPr>
          <p:cNvPr id="2" name="Titel 1"/>
          <p:cNvSpPr>
            <a:spLocks noGrp="1"/>
          </p:cNvSpPr>
          <p:nvPr>
            <p:ph type="title" hasCustomPrompt="1"/>
          </p:nvPr>
        </p:nvSpPr>
        <p:spPr>
          <a:xfrm>
            <a:off x="508001" y="4647515"/>
            <a:ext cx="11215711" cy="972000"/>
          </a:xfrm>
          <a:ln w="12700">
            <a:miter lim="400000"/>
          </a:ln>
        </p:spPr>
        <p:txBody>
          <a:bodyPr vert="horz" lIns="0" tIns="0" rIns="0" bIns="0" anchor="ctr">
            <a:noAutofit/>
          </a:bodyPr>
          <a:lstStyle>
            <a:lvl1pPr>
              <a:defRPr lang="da-DK" sz="3600"/>
            </a:lvl1pPr>
          </a:lstStyle>
          <a:p>
            <a:pPr lvl="0">
              <a:spcBef>
                <a:spcPts val="0"/>
              </a:spcBef>
            </a:pPr>
            <a:r>
              <a:rPr lang="da-DK"/>
              <a:t>Klik for at tilføje tekst</a:t>
            </a:r>
          </a:p>
        </p:txBody>
      </p:sp>
      <p:sp>
        <p:nvSpPr>
          <p:cNvPr id="6" name="Shape 2"/>
          <p:cNvSpPr/>
          <p:nvPr/>
        </p:nvSpPr>
        <p:spPr>
          <a:xfrm>
            <a:off x="476250"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8" name="Shape 3"/>
          <p:cNvSpPr/>
          <p:nvPr/>
        </p:nvSpPr>
        <p:spPr>
          <a:xfrm>
            <a:off x="476250"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pic>
        <p:nvPicPr>
          <p:cNvPr id="9" name="ÆS_logo_POS_CMYK.pdf"/>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10" name="Shape 2">
            <a:extLst>
              <a:ext uri="{FF2B5EF4-FFF2-40B4-BE49-F238E27FC236}">
                <a16:creationId xmlns:a16="http://schemas.microsoft.com/office/drawing/2014/main" id="{8B26C565-F8B5-CC4A-822E-33371BAF5E64}"/>
              </a:ext>
            </a:extLst>
          </p:cNvPr>
          <p:cNvSpPr/>
          <p:nvPr/>
        </p:nvSpPr>
        <p:spPr>
          <a:xfrm>
            <a:off x="476250"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11" name="Shape 3">
            <a:extLst>
              <a:ext uri="{FF2B5EF4-FFF2-40B4-BE49-F238E27FC236}">
                <a16:creationId xmlns:a16="http://schemas.microsoft.com/office/drawing/2014/main" id="{B42E06C5-A77D-E949-873B-905053F832C2}"/>
              </a:ext>
            </a:extLst>
          </p:cNvPr>
          <p:cNvSpPr/>
          <p:nvPr/>
        </p:nvSpPr>
        <p:spPr>
          <a:xfrm>
            <a:off x="476250"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pic>
        <p:nvPicPr>
          <p:cNvPr id="12" name="ÆS_logo_POS_CMYK.pdf">
            <a:extLst>
              <a:ext uri="{FF2B5EF4-FFF2-40B4-BE49-F238E27FC236}">
                <a16:creationId xmlns:a16="http://schemas.microsoft.com/office/drawing/2014/main" id="{C9226CA0-7401-5D47-B343-79146ED59277}"/>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3734691523"/>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PhAnim="0"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19070"/>
            <a:ext cx="11229673" cy="972000"/>
          </a:xfrm>
        </p:spPr>
        <p:txBody>
          <a:bodyPr>
            <a:normAutofit/>
          </a:bodyPr>
          <a:lstStyle>
            <a:lvl1pPr>
              <a:spcBef>
                <a:spcPts val="0"/>
              </a:spcBef>
              <a:defRPr sz="4900"/>
            </a:lvl1pPr>
          </a:lstStyle>
          <a:p>
            <a:pPr lvl="0"/>
            <a:r>
              <a:rPr lang="da-DK"/>
              <a:t>Klik for at tilføje tekst</a:t>
            </a:r>
          </a:p>
        </p:txBody>
      </p:sp>
    </p:spTree>
    <p:extLst>
      <p:ext uri="{BB962C8B-B14F-4D97-AF65-F5344CB8AC3E}">
        <p14:creationId xmlns:p14="http://schemas.microsoft.com/office/powerpoint/2010/main" val="2682845822"/>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pic>
        <p:nvPicPr>
          <p:cNvPr id="4" name="ÆS_logo_POS_CMYK.pdf">
            <a:extLst>
              <a:ext uri="{FF2B5EF4-FFF2-40B4-BE49-F238E27FC236}">
                <a16:creationId xmlns:a16="http://schemas.microsoft.com/office/drawing/2014/main" id="{D0F85CEB-4D7B-6E42-9B8C-F72D0A5A9F43}"/>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3471559262"/>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794043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8" y="349319"/>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24"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2"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8" name="Shape 3"/>
          <p:cNvSpPr/>
          <p:nvPr userDrawn="1"/>
        </p:nvSpPr>
        <p:spPr>
          <a:xfrm>
            <a:off x="476252"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9"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
        <p:nvSpPr>
          <p:cNvPr id="4" name="Pladsholder til diasnummer 3"/>
          <p:cNvSpPr>
            <a:spLocks noGrp="1"/>
          </p:cNvSpPr>
          <p:nvPr>
            <p:ph type="sldNum" sz="quarter" idx="12"/>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70263097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19070"/>
            <a:ext cx="11229673" cy="972000"/>
          </a:xfrm>
        </p:spPr>
        <p:txBody>
          <a:bodyPr>
            <a:normAutofit/>
          </a:bodyPr>
          <a:lstStyle>
            <a:lvl1pPr>
              <a:spcBef>
                <a:spcPts val="0"/>
              </a:spcBef>
              <a:defRPr sz="4900"/>
            </a:lvl1pPr>
          </a:lstStyle>
          <a:p>
            <a:pPr lvl="0"/>
            <a:r>
              <a:rPr lang="da-DK" dirty="0"/>
              <a:t>Klik for at tilføje tekst</a:t>
            </a:r>
          </a:p>
        </p:txBody>
      </p:sp>
      <p:sp>
        <p:nvSpPr>
          <p:cNvPr id="3" name="Pladsholder til diasnummer 2"/>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98151281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5371683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10514921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undertitel &amp; punkter">
    <p:spTree>
      <p:nvGrpSpPr>
        <p:cNvPr id="1" name=""/>
        <p:cNvGrpSpPr/>
        <p:nvPr/>
      </p:nvGrpSpPr>
      <p:grpSpPr>
        <a:xfrm>
          <a:off x="0" y="0"/>
          <a:ext cx="0" cy="0"/>
          <a:chOff x="0" y="0"/>
          <a:chExt cx="0" cy="0"/>
        </a:xfrm>
      </p:grpSpPr>
      <p:sp>
        <p:nvSpPr>
          <p:cNvPr id="31" name="Shape 31"/>
          <p:cNvSpPr>
            <a:spLocks noGrp="1"/>
          </p:cNvSpPr>
          <p:nvPr>
            <p:ph type="body" idx="1"/>
          </p:nvPr>
        </p:nvSpPr>
        <p:spPr>
          <a:xfrm>
            <a:off x="1016000" y="1872758"/>
            <a:ext cx="10699749" cy="4339467"/>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defRPr sz="1800">
                <a:solidFill>
                  <a:srgbClr val="000000"/>
                </a:solidFill>
              </a:defRPr>
            </a:pPr>
            <a:r>
              <a:rPr lang="da-DK" sz="2200" dirty="0">
                <a:solidFill>
                  <a:srgbClr val="414141"/>
                </a:solidFill>
              </a:rPr>
              <a:t>Rediger typografien i masterens</a:t>
            </a:r>
          </a:p>
          <a:p>
            <a:pPr lvl="1">
              <a:defRPr sz="1800">
                <a:solidFill>
                  <a:srgbClr val="000000"/>
                </a:solidFill>
              </a:defRPr>
            </a:pPr>
            <a:r>
              <a:rPr lang="da-DK" sz="2200" dirty="0">
                <a:solidFill>
                  <a:srgbClr val="414141"/>
                </a:solidFill>
              </a:rPr>
              <a:t>Andet niveau</a:t>
            </a:r>
          </a:p>
          <a:p>
            <a:pPr lvl="2">
              <a:defRPr sz="1800">
                <a:solidFill>
                  <a:srgbClr val="000000"/>
                </a:solidFill>
              </a:defRPr>
            </a:pPr>
            <a:r>
              <a:rPr lang="da-DK" sz="2200" dirty="0">
                <a:solidFill>
                  <a:srgbClr val="414141"/>
                </a:solidFill>
              </a:rPr>
              <a:t>Tredje niveau</a:t>
            </a:r>
          </a:p>
          <a:p>
            <a:pPr lvl="3">
              <a:defRPr sz="1800">
                <a:solidFill>
                  <a:srgbClr val="000000"/>
                </a:solidFill>
              </a:defRPr>
            </a:pPr>
            <a:r>
              <a:rPr lang="da-DK" sz="2200" dirty="0">
                <a:solidFill>
                  <a:srgbClr val="414141"/>
                </a:solidFill>
              </a:rPr>
              <a:t>Fjerde niveau</a:t>
            </a:r>
          </a:p>
          <a:p>
            <a:pPr lvl="4">
              <a:defRPr sz="1800">
                <a:solidFill>
                  <a:srgbClr val="000000"/>
                </a:solidFill>
              </a:defRPr>
            </a:pPr>
            <a:r>
              <a:rPr lang="da-DK" sz="2200" dirty="0">
                <a:solidFill>
                  <a:srgbClr val="414141"/>
                </a:solidFill>
              </a:rPr>
              <a:t>Femte niveau</a:t>
            </a:r>
            <a:endParaRPr sz="2200" dirty="0">
              <a:solidFill>
                <a:srgbClr val="414141"/>
              </a:solidFill>
            </a:endParaRPr>
          </a:p>
        </p:txBody>
      </p:sp>
      <p:sp>
        <p:nvSpPr>
          <p:cNvPr id="5" name="Pladsholder til tekst 2"/>
          <p:cNvSpPr>
            <a:spLocks noGrp="1"/>
          </p:cNvSpPr>
          <p:nvPr>
            <p:ph type="body" sz="quarter" idx="10" hasCustomPrompt="1"/>
          </p:nvPr>
        </p:nvSpPr>
        <p:spPr>
          <a:xfrm>
            <a:off x="484212" y="1418762"/>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7" name="Pladsholder til tekst 2"/>
          <p:cNvSpPr>
            <a:spLocks noGrp="1"/>
          </p:cNvSpPr>
          <p:nvPr>
            <p:ph type="body" sz="quarter" idx="11" hasCustomPrompt="1"/>
          </p:nvPr>
        </p:nvSpPr>
        <p:spPr>
          <a:xfrm>
            <a:off x="478369" y="233500"/>
            <a:ext cx="11235267" cy="989403"/>
          </a:xfrm>
        </p:spPr>
        <p:txBody>
          <a:bodyPr>
            <a:normAutofit/>
          </a:bodyPr>
          <a:lstStyle>
            <a:lvl1pPr marL="0" indent="0" algn="ctr">
              <a:lnSpc>
                <a:spcPct val="100000"/>
              </a:lnSpc>
              <a:spcBef>
                <a:spcPts val="0"/>
              </a:spcBef>
              <a:buFontTx/>
              <a:buNone/>
              <a:defRPr lang="da-DK" sz="4900" dirty="0" smtClean="0">
                <a:solidFill>
                  <a:schemeClr val="tx2"/>
                </a:solidFill>
                <a:latin typeface="Arial"/>
                <a:ea typeface="Arial"/>
                <a:cs typeface="Arial"/>
                <a:sym typeface="Arial"/>
              </a:defRPr>
            </a:lvl1pPr>
            <a:lvl2pPr marL="240460" indent="0">
              <a:buNone/>
              <a:defRPr/>
            </a:lvl2pPr>
            <a:lvl5pPr marL="961841" indent="0">
              <a:buNone/>
              <a:defRPr/>
            </a:lvl5pPr>
          </a:lstStyle>
          <a:p>
            <a:pPr lvl="0"/>
            <a:r>
              <a:rPr lang="da-DK" dirty="0"/>
              <a:t>Klik for at redigere i master</a:t>
            </a:r>
          </a:p>
        </p:txBody>
      </p:sp>
    </p:spTree>
    <p:extLst>
      <p:ext uri="{BB962C8B-B14F-4D97-AF65-F5344CB8AC3E}">
        <p14:creationId xmlns:p14="http://schemas.microsoft.com/office/powerpoint/2010/main" val="374809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el &amp; punkter">
    <p:spTree>
      <p:nvGrpSpPr>
        <p:cNvPr id="1" name=""/>
        <p:cNvGrpSpPr/>
        <p:nvPr/>
      </p:nvGrpSpPr>
      <p:grpSpPr>
        <a:xfrm>
          <a:off x="0" y="0"/>
          <a:ext cx="0" cy="0"/>
          <a:chOff x="0" y="0"/>
          <a:chExt cx="0" cy="0"/>
        </a:xfrm>
      </p:grpSpPr>
      <p:sp>
        <p:nvSpPr>
          <p:cNvPr id="31" name="Shape 31"/>
          <p:cNvSpPr>
            <a:spLocks noGrp="1"/>
          </p:cNvSpPr>
          <p:nvPr>
            <p:ph type="body" idx="1" hasCustomPrompt="1"/>
          </p:nvPr>
        </p:nvSpPr>
        <p:spPr>
          <a:xfrm>
            <a:off x="1011501" y="1526037"/>
            <a:ext cx="10704251" cy="4686186"/>
          </a:xfrm>
          <a:prstGeom prst="rect">
            <a:avLst/>
          </a:prstGeom>
        </p:spPr>
        <p:txBody>
          <a:bodyPr/>
          <a:lstStyle>
            <a:lvl1pPr algn="l">
              <a:defRPr>
                <a:solidFill>
                  <a:schemeClr val="tx1">
                    <a:lumMod val="75000"/>
                    <a:lumOff val="25000"/>
                  </a:schemeClr>
                </a:solidFill>
              </a:defRPr>
            </a:lvl1pPr>
            <a:lvl2pPr algn="l">
              <a:defRPr>
                <a:solidFill>
                  <a:schemeClr val="tx1">
                    <a:lumMod val="75000"/>
                    <a:lumOff val="25000"/>
                  </a:schemeClr>
                </a:solidFill>
              </a:defRPr>
            </a:lvl2pPr>
            <a:lvl3pPr algn="l">
              <a:defRPr>
                <a:solidFill>
                  <a:schemeClr val="tx1">
                    <a:lumMod val="75000"/>
                    <a:lumOff val="25000"/>
                  </a:schemeClr>
                </a:solidFill>
              </a:defRPr>
            </a:lvl3pPr>
            <a:lvl4pPr algn="l">
              <a:defRPr>
                <a:solidFill>
                  <a:schemeClr val="tx1">
                    <a:lumMod val="75000"/>
                    <a:lumOff val="25000"/>
                  </a:schemeClr>
                </a:solidFill>
              </a:defRPr>
            </a:lvl4pPr>
            <a:lvl5pPr algn="l">
              <a:defRPr>
                <a:solidFill>
                  <a:schemeClr val="tx1">
                    <a:lumMod val="75000"/>
                    <a:lumOff val="25000"/>
                  </a:schemeClr>
                </a:solidFill>
              </a:defRPr>
            </a:lvl5pPr>
          </a:lstStyle>
          <a:p>
            <a:pPr lvl="0">
              <a:defRPr sz="1800">
                <a:solidFill>
                  <a:srgbClr val="000000"/>
                </a:solidFill>
              </a:defRPr>
            </a:pPr>
            <a:r>
              <a:rPr lang="da-DK" sz="2200" dirty="0">
                <a:solidFill>
                  <a:srgbClr val="414141"/>
                </a:solidFill>
              </a:rPr>
              <a:t>Rediger typografien i masteren</a:t>
            </a:r>
          </a:p>
          <a:p>
            <a:pPr lvl="1">
              <a:defRPr sz="1800">
                <a:solidFill>
                  <a:srgbClr val="000000"/>
                </a:solidFill>
              </a:defRPr>
            </a:pPr>
            <a:r>
              <a:rPr lang="da-DK" sz="2200" dirty="0">
                <a:solidFill>
                  <a:srgbClr val="414141"/>
                </a:solidFill>
              </a:rPr>
              <a:t>Andet niveau</a:t>
            </a:r>
          </a:p>
          <a:p>
            <a:pPr lvl="2">
              <a:defRPr sz="1800">
                <a:solidFill>
                  <a:srgbClr val="000000"/>
                </a:solidFill>
              </a:defRPr>
            </a:pPr>
            <a:r>
              <a:rPr lang="da-DK" sz="2200" dirty="0">
                <a:solidFill>
                  <a:srgbClr val="414141"/>
                </a:solidFill>
              </a:rPr>
              <a:t>Tredje niveau</a:t>
            </a:r>
          </a:p>
          <a:p>
            <a:pPr lvl="3">
              <a:defRPr sz="1800">
                <a:solidFill>
                  <a:srgbClr val="000000"/>
                </a:solidFill>
              </a:defRPr>
            </a:pPr>
            <a:r>
              <a:rPr lang="da-DK" sz="2200" dirty="0">
                <a:solidFill>
                  <a:srgbClr val="414141"/>
                </a:solidFill>
              </a:rPr>
              <a:t>Fjerde niveau</a:t>
            </a:r>
          </a:p>
          <a:p>
            <a:pPr lvl="4">
              <a:defRPr sz="1800">
                <a:solidFill>
                  <a:srgbClr val="000000"/>
                </a:solidFill>
              </a:defRPr>
            </a:pPr>
            <a:r>
              <a:rPr lang="da-DK" sz="2200" dirty="0">
                <a:solidFill>
                  <a:srgbClr val="414141"/>
                </a:solidFill>
              </a:rPr>
              <a:t>Femte niveau</a:t>
            </a:r>
            <a:endParaRPr sz="2200" dirty="0">
              <a:solidFill>
                <a:srgbClr val="414141"/>
              </a:solidFill>
            </a:endParaRPr>
          </a:p>
        </p:txBody>
      </p:sp>
      <p:sp>
        <p:nvSpPr>
          <p:cNvPr id="3" name="Pladsholder til tekst 2"/>
          <p:cNvSpPr>
            <a:spLocks noGrp="1"/>
          </p:cNvSpPr>
          <p:nvPr>
            <p:ph type="body" sz="quarter" idx="10" hasCustomPrompt="1"/>
          </p:nvPr>
        </p:nvSpPr>
        <p:spPr>
          <a:xfrm>
            <a:off x="478369" y="226636"/>
            <a:ext cx="11235267" cy="996267"/>
          </a:xfrm>
        </p:spPr>
        <p:txBody>
          <a:bodyPr>
            <a:normAutofit/>
          </a:bodyPr>
          <a:lstStyle>
            <a:lvl1pPr marL="0" indent="0" algn="ctr">
              <a:lnSpc>
                <a:spcPct val="100000"/>
              </a:lnSpc>
              <a:spcBef>
                <a:spcPts val="0"/>
              </a:spcBef>
              <a:buFontTx/>
              <a:buNone/>
              <a:defRPr lang="da-DK" sz="4900" dirty="0" smtClean="0">
                <a:solidFill>
                  <a:schemeClr val="tx2"/>
                </a:solidFill>
                <a:latin typeface="Arial"/>
                <a:ea typeface="Arial"/>
                <a:cs typeface="Arial"/>
                <a:sym typeface="Arial"/>
              </a:defRPr>
            </a:lvl1pPr>
            <a:lvl2pPr marL="240460" indent="0">
              <a:buNone/>
              <a:defRPr/>
            </a:lvl2pPr>
            <a:lvl5pPr marL="961841" indent="0">
              <a:buNone/>
              <a:defRPr/>
            </a:lvl5pPr>
          </a:lstStyle>
          <a:p>
            <a:pPr lvl="0"/>
            <a:r>
              <a:rPr lang="da-DK" dirty="0"/>
              <a:t>Klik for at redigere i master</a:t>
            </a:r>
          </a:p>
        </p:txBody>
      </p:sp>
    </p:spTree>
    <p:extLst>
      <p:ext uri="{BB962C8B-B14F-4D97-AF65-F5344CB8AC3E}">
        <p14:creationId xmlns:p14="http://schemas.microsoft.com/office/powerpoint/2010/main" val="328343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62"/>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7" name="Pladsholder til tekst 2"/>
          <p:cNvSpPr>
            <a:spLocks noGrp="1"/>
          </p:cNvSpPr>
          <p:nvPr>
            <p:ph type="body" sz="quarter" idx="11" hasCustomPrompt="1"/>
          </p:nvPr>
        </p:nvSpPr>
        <p:spPr>
          <a:xfrm>
            <a:off x="478369" y="233405"/>
            <a:ext cx="11235267" cy="972000"/>
          </a:xfrm>
        </p:spPr>
        <p:txBody>
          <a:bodyPr>
            <a:normAutofit/>
          </a:bodyPr>
          <a:lstStyle>
            <a:lvl1pPr marL="0" indent="0" algn="ctr">
              <a:lnSpc>
                <a:spcPct val="100000"/>
              </a:lnSpc>
              <a:spcBef>
                <a:spcPts val="0"/>
              </a:spcBef>
              <a:buFontTx/>
              <a:buNone/>
              <a:defRPr lang="da-DK" sz="4900" dirty="0" smtClean="0">
                <a:solidFill>
                  <a:schemeClr val="tx2"/>
                </a:solidFill>
                <a:latin typeface="Arial"/>
                <a:ea typeface="Arial"/>
                <a:cs typeface="Arial"/>
                <a:sym typeface="Arial"/>
              </a:defRPr>
            </a:lvl1pPr>
            <a:lvl2pPr marL="240460" indent="0">
              <a:buNone/>
              <a:defRPr/>
            </a:lvl2pPr>
            <a:lvl5pPr marL="961841" indent="0">
              <a:buNone/>
              <a:defRPr/>
            </a:lvl5pPr>
          </a:lstStyle>
          <a:p>
            <a:pPr lvl="0"/>
            <a:r>
              <a:rPr lang="da-DK" dirty="0"/>
              <a:t>Klik for at tilføje tekst</a:t>
            </a:r>
          </a:p>
        </p:txBody>
      </p:sp>
      <p:sp>
        <p:nvSpPr>
          <p:cNvPr id="3" name="Pladsholder til indhold 2"/>
          <p:cNvSpPr>
            <a:spLocks noGrp="1"/>
          </p:cNvSpPr>
          <p:nvPr>
            <p:ph sz="quarter" idx="12" hasCustomPrompt="1"/>
          </p:nvPr>
        </p:nvSpPr>
        <p:spPr>
          <a:xfrm>
            <a:off x="1016063" y="1875119"/>
            <a:ext cx="10708217" cy="4340411"/>
          </a:xfrm>
        </p:spPr>
        <p:txBody>
          <a:bodyPr vert="horz"/>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50969430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62"/>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7" name="Pladsholder til tekst 2"/>
          <p:cNvSpPr>
            <a:spLocks noGrp="1"/>
          </p:cNvSpPr>
          <p:nvPr>
            <p:ph type="body" sz="quarter" idx="11" hasCustomPrompt="1"/>
          </p:nvPr>
        </p:nvSpPr>
        <p:spPr>
          <a:xfrm>
            <a:off x="478369" y="233405"/>
            <a:ext cx="11235267" cy="972000"/>
          </a:xfrm>
        </p:spPr>
        <p:txBody>
          <a:bodyPr>
            <a:normAutofit/>
          </a:bodyPr>
          <a:lstStyle>
            <a:lvl1pPr marL="0" indent="0" algn="ctr">
              <a:lnSpc>
                <a:spcPct val="100000"/>
              </a:lnSpc>
              <a:spcBef>
                <a:spcPts val="0"/>
              </a:spcBef>
              <a:buFontTx/>
              <a:buNone/>
              <a:defRPr lang="da-DK" sz="4900" dirty="0" smtClean="0">
                <a:solidFill>
                  <a:schemeClr val="tx2"/>
                </a:solidFill>
                <a:latin typeface="Arial"/>
                <a:ea typeface="Arial"/>
                <a:cs typeface="Arial"/>
                <a:sym typeface="Arial"/>
              </a:defRPr>
            </a:lvl1pPr>
            <a:lvl2pPr marL="240460" indent="0">
              <a:buNone/>
              <a:defRPr/>
            </a:lvl2pPr>
            <a:lvl5pPr marL="961841" indent="0">
              <a:buNone/>
              <a:defRPr/>
            </a:lvl5pPr>
          </a:lstStyle>
          <a:p>
            <a:pPr lvl="0"/>
            <a:r>
              <a:rPr lang="da-DK" dirty="0"/>
              <a:t>Klik for at tilføje tekst</a:t>
            </a:r>
          </a:p>
        </p:txBody>
      </p:sp>
      <p:sp>
        <p:nvSpPr>
          <p:cNvPr id="3" name="Pladsholder til indhold 2"/>
          <p:cNvSpPr>
            <a:spLocks noGrp="1"/>
          </p:cNvSpPr>
          <p:nvPr>
            <p:ph sz="quarter" idx="12" hasCustomPrompt="1"/>
          </p:nvPr>
        </p:nvSpPr>
        <p:spPr>
          <a:xfrm>
            <a:off x="1016063" y="1875119"/>
            <a:ext cx="10708217" cy="4340411"/>
          </a:xfrm>
        </p:spPr>
        <p:txBody>
          <a:bodyPr vert="horz"/>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509694306"/>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31" name="Shape 31"/>
          <p:cNvSpPr>
            <a:spLocks noGrp="1"/>
          </p:cNvSpPr>
          <p:nvPr>
            <p:ph type="body" idx="1"/>
          </p:nvPr>
        </p:nvSpPr>
        <p:spPr>
          <a:xfrm>
            <a:off x="1011499" y="1526037"/>
            <a:ext cx="10704251" cy="4686186"/>
          </a:xfrm>
          <a:prstGeom prst="rect">
            <a:avLst/>
          </a:prstGeo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defRPr sz="1800">
                <a:solidFill>
                  <a:srgbClr val="000000"/>
                </a:solidFill>
              </a:defRPr>
            </a:pPr>
            <a:r>
              <a:rPr lang="da-DK" sz="2200">
                <a:solidFill>
                  <a:srgbClr val="414141"/>
                </a:solidFill>
              </a:rPr>
              <a:t>Rediger typografien i masterens</a:t>
            </a:r>
          </a:p>
          <a:p>
            <a:pPr lvl="1">
              <a:defRPr sz="1800">
                <a:solidFill>
                  <a:srgbClr val="000000"/>
                </a:solidFill>
              </a:defRPr>
            </a:pPr>
            <a:r>
              <a:rPr lang="da-DK" sz="2200">
                <a:solidFill>
                  <a:srgbClr val="414141"/>
                </a:solidFill>
              </a:rPr>
              <a:t>Andet niveau</a:t>
            </a:r>
          </a:p>
          <a:p>
            <a:pPr lvl="2">
              <a:defRPr sz="1800">
                <a:solidFill>
                  <a:srgbClr val="000000"/>
                </a:solidFill>
              </a:defRPr>
            </a:pPr>
            <a:r>
              <a:rPr lang="da-DK" sz="2200">
                <a:solidFill>
                  <a:srgbClr val="414141"/>
                </a:solidFill>
              </a:rPr>
              <a:t>Tredje niveau</a:t>
            </a:r>
          </a:p>
          <a:p>
            <a:pPr lvl="3">
              <a:defRPr sz="1800">
                <a:solidFill>
                  <a:srgbClr val="000000"/>
                </a:solidFill>
              </a:defRPr>
            </a:pPr>
            <a:r>
              <a:rPr lang="da-DK" sz="2200">
                <a:solidFill>
                  <a:srgbClr val="414141"/>
                </a:solidFill>
              </a:rPr>
              <a:t>Fjerde niveau</a:t>
            </a:r>
          </a:p>
          <a:p>
            <a:pPr lvl="4">
              <a:defRPr sz="1800">
                <a:solidFill>
                  <a:srgbClr val="000000"/>
                </a:solidFill>
              </a:defRPr>
            </a:pPr>
            <a:r>
              <a:rPr lang="da-DK" sz="2200">
                <a:solidFill>
                  <a:srgbClr val="414141"/>
                </a:solidFill>
              </a:rPr>
              <a:t>Femte niveau</a:t>
            </a:r>
            <a:endParaRPr sz="2200" dirty="0">
              <a:solidFill>
                <a:srgbClr val="414141"/>
              </a:solidFill>
            </a:endParaRPr>
          </a:p>
        </p:txBody>
      </p:sp>
      <p:sp>
        <p:nvSpPr>
          <p:cNvPr id="2" name="Titel 1"/>
          <p:cNvSpPr>
            <a:spLocks noGrp="1"/>
          </p:cNvSpPr>
          <p:nvPr>
            <p:ph type="title"/>
          </p:nvPr>
        </p:nvSpPr>
        <p:spPr>
          <a:xfrm>
            <a:off x="484211" y="233406"/>
            <a:ext cx="11239500" cy="965157"/>
          </a:xfrm>
        </p:spPr>
        <p:txBody>
          <a:bodyPr>
            <a:normAutofit/>
          </a:bodyPr>
          <a:lstStyle>
            <a:lvl1pPr>
              <a:defRPr sz="4900"/>
            </a:lvl1pPr>
          </a:lstStyle>
          <a:p>
            <a:r>
              <a:rPr lang="da-DK" dirty="0"/>
              <a:t>Klik for at redigere i master</a:t>
            </a:r>
          </a:p>
        </p:txBody>
      </p:sp>
    </p:spTree>
    <p:extLst>
      <p:ext uri="{BB962C8B-B14F-4D97-AF65-F5344CB8AC3E}">
        <p14:creationId xmlns:p14="http://schemas.microsoft.com/office/powerpoint/2010/main" val="120872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7"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73" y="3441528"/>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0" name="Shape 10"/>
          <p:cNvSpPr>
            <a:spLocks noGrp="1"/>
          </p:cNvSpPr>
          <p:nvPr>
            <p:ph type="title" hasCustomPrompt="1"/>
          </p:nvPr>
        </p:nvSpPr>
        <p:spPr>
          <a:xfrm>
            <a:off x="476251" y="2560664"/>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76"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7" name="Shape 8"/>
          <p:cNvSpPr/>
          <p:nvPr/>
        </p:nvSpPr>
        <p:spPr>
          <a:xfrm>
            <a:off x="476291"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14"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29172358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3" name="Rektangel 2"/>
          <p:cNvSpPr/>
          <p:nvPr userDrawn="1"/>
        </p:nvSpPr>
        <p:spPr>
          <a:xfrm>
            <a:off x="-1" y="923835"/>
            <a:ext cx="12192000" cy="595035"/>
          </a:xfrm>
          <a:prstGeom prst="rect">
            <a:avLst/>
          </a:prstGeom>
          <a:solidFill>
            <a:schemeClr val="bg2"/>
          </a:solidFill>
          <a:ln w="952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sp>
        <p:nvSpPr>
          <p:cNvPr id="10" name="Rektangel 9"/>
          <p:cNvSpPr/>
          <p:nvPr userDrawn="1"/>
        </p:nvSpPr>
        <p:spPr>
          <a:xfrm>
            <a:off x="-575" y="5339263"/>
            <a:ext cx="12192000" cy="595035"/>
          </a:xfrm>
          <a:prstGeom prst="rect">
            <a:avLst/>
          </a:prstGeom>
          <a:solidFill>
            <a:schemeClr val="bg2"/>
          </a:solidFill>
          <a:ln w="9525"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pic>
        <p:nvPicPr>
          <p:cNvPr id="7" name="ÆS_logo_POS_CMYK.pdf"/>
          <p:cNvPicPr/>
          <p:nvPr userDrawn="1"/>
        </p:nvPicPr>
        <p:blipFill>
          <a:blip r:embed="rId2" cstate="email">
            <a:extLst>
              <a:ext uri="{28A0092B-C50C-407E-A947-70E740481C1C}">
                <a14:useLocalDpi xmlns:a14="http://schemas.microsoft.com/office/drawing/2010/main"/>
              </a:ext>
            </a:extLst>
          </a:blip>
          <a:stretch>
            <a:fillRect/>
          </a:stretch>
        </p:blipFill>
        <p:spPr>
          <a:xfrm>
            <a:off x="3599499" y="3005188"/>
            <a:ext cx="4991916" cy="851668"/>
          </a:xfrm>
          <a:prstGeom prst="rect">
            <a:avLst/>
          </a:prstGeom>
          <a:ln w="12700">
            <a:miter lim="400000"/>
          </a:ln>
        </p:spPr>
      </p:pic>
      <p:sp>
        <p:nvSpPr>
          <p:cNvPr id="24" name="Shape 7"/>
          <p:cNvSpPr/>
          <p:nvPr userDrawn="1"/>
        </p:nvSpPr>
        <p:spPr>
          <a:xfrm>
            <a:off x="-1" y="4406969"/>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chemeClr val="tx1">
                <a:lumMod val="65000"/>
                <a:lumOff val="35000"/>
              </a:scheme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2" y="2396921"/>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chemeClr val="tx1">
                <a:lumMod val="65000"/>
                <a:lumOff val="35000"/>
              </a:scheme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Tree>
    <p:extLst>
      <p:ext uri="{BB962C8B-B14F-4D97-AF65-F5344CB8AC3E}">
        <p14:creationId xmlns:p14="http://schemas.microsoft.com/office/powerpoint/2010/main" val="3144212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7"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73" y="3441528"/>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0" name="Shape 10"/>
          <p:cNvSpPr>
            <a:spLocks noGrp="1"/>
          </p:cNvSpPr>
          <p:nvPr>
            <p:ph type="title" hasCustomPrompt="1"/>
          </p:nvPr>
        </p:nvSpPr>
        <p:spPr>
          <a:xfrm>
            <a:off x="476251" y="2560664"/>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76"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7" name="Shape 8"/>
          <p:cNvSpPr/>
          <p:nvPr/>
        </p:nvSpPr>
        <p:spPr>
          <a:xfrm>
            <a:off x="476291"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14"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40153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1" y="1516534"/>
            <a:ext cx="10707843" cy="4706471"/>
          </a:xfrm>
        </p:spPr>
        <p:txBody>
          <a:bodyPr vert="horz"/>
          <a:lstStyle>
            <a:lvl1pPr>
              <a:buClr>
                <a:schemeClr val="tx2"/>
              </a:buClr>
              <a:buSzPct val="100000"/>
              <a:defRPr baseline="0"/>
            </a:lvl1pPr>
            <a:lvl2pPr>
              <a:buClr>
                <a:schemeClr val="tx2"/>
              </a:buClr>
              <a:buSzPct val="100000"/>
              <a:defRPr/>
            </a:lvl2pPr>
            <a:lvl3pPr>
              <a:buClr>
                <a:schemeClr val="tx2"/>
              </a:buClr>
              <a:buSzPct val="100000"/>
              <a:defRPr/>
            </a:lvl3pPr>
            <a:lvl4pPr>
              <a:buClr>
                <a:schemeClr val="tx2"/>
              </a:buClr>
              <a:buSzPct val="100000"/>
              <a:defRPr/>
            </a:lvl4pPr>
            <a:lvl5pPr>
              <a:buClr>
                <a:schemeClr val="tx2"/>
              </a:buClr>
              <a:buSzPct val="100000"/>
              <a:defRPr/>
            </a:lvl5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9920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46" y="1875119"/>
            <a:ext cx="10708217" cy="4340411"/>
          </a:xfrm>
        </p:spPr>
        <p:txBody>
          <a:bodyPr vert="horz">
            <a:normAutofit/>
          </a:bodyPr>
          <a:lstStyle>
            <a:lvl1pPr>
              <a:spcBef>
                <a:spcPts val="1600"/>
              </a:spcBef>
              <a:buClr>
                <a:schemeClr val="tx2"/>
              </a:buClr>
              <a:buSzPct val="100000"/>
              <a:defRPr sz="2400" baseline="0"/>
            </a:lvl1pPr>
            <a:lvl2pPr>
              <a:spcBef>
                <a:spcPts val="1600"/>
              </a:spcBef>
              <a:buClr>
                <a:schemeClr val="tx2"/>
              </a:buClr>
              <a:buSzPct val="100000"/>
              <a:defRPr sz="2400" baseline="0"/>
            </a:lvl2pPr>
            <a:lvl3pPr>
              <a:spcBef>
                <a:spcPts val="1600"/>
              </a:spcBef>
              <a:buClr>
                <a:schemeClr val="tx2"/>
              </a:buClr>
              <a:buSzPct val="100000"/>
              <a:defRPr sz="2400" baseline="0"/>
            </a:lvl3pPr>
            <a:lvl4pPr>
              <a:spcBef>
                <a:spcPts val="1600"/>
              </a:spcBef>
              <a:buClr>
                <a:schemeClr val="tx2"/>
              </a:buClr>
              <a:buSzPct val="100000"/>
              <a:defRPr sz="2400" baseline="0"/>
            </a:lvl4pPr>
            <a:lvl5pPr>
              <a:spcBef>
                <a:spcPts val="1600"/>
              </a:spcBef>
              <a:buClr>
                <a:schemeClr val="tx2"/>
              </a:buClr>
              <a:buSzPct val="100000"/>
              <a:defRPr sz="2400" baseline="0"/>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Tree>
    <p:extLst>
      <p:ext uri="{BB962C8B-B14F-4D97-AF65-F5344CB8AC3E}">
        <p14:creationId xmlns:p14="http://schemas.microsoft.com/office/powerpoint/2010/main" val="282372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3" y="1919883"/>
            <a:ext cx="5459763" cy="4286250"/>
          </a:xfrm>
        </p:spPr>
        <p:txBody>
          <a:bodyPr vert="horz">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56" y="234619"/>
            <a:ext cx="11229673" cy="972000"/>
          </a:xfrm>
        </p:spPr>
        <p:txBody>
          <a:bodyPr>
            <a:normAutofit/>
          </a:bodyPr>
          <a:lstStyle>
            <a:lvl1pPr>
              <a:defRPr sz="4900"/>
            </a:lvl1pPr>
          </a:lstStyle>
          <a:p>
            <a:pPr lvl="0"/>
            <a:r>
              <a:rPr lang="da-DK" dirty="0"/>
              <a:t>Klik for at tilføje tekst</a:t>
            </a:r>
          </a:p>
        </p:txBody>
      </p:sp>
    </p:spTree>
    <p:extLst>
      <p:ext uri="{BB962C8B-B14F-4D97-AF65-F5344CB8AC3E}">
        <p14:creationId xmlns:p14="http://schemas.microsoft.com/office/powerpoint/2010/main" val="200950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3" y="1919883"/>
            <a:ext cx="5459763" cy="4286250"/>
          </a:xfrm>
        </p:spPr>
        <p:txBody>
          <a:bodyPr vert="horz" anchor="ctr">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i master</a:t>
            </a:r>
            <a:endParaRPr lang="da-DK" dirty="0"/>
          </a:p>
        </p:txBody>
      </p:sp>
    </p:spTree>
    <p:extLst>
      <p:ext uri="{BB962C8B-B14F-4D97-AF65-F5344CB8AC3E}">
        <p14:creationId xmlns:p14="http://schemas.microsoft.com/office/powerpoint/2010/main" val="93907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3"/>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46" y="333375"/>
            <a:ext cx="5617633" cy="5881688"/>
          </a:xfrm>
        </p:spPr>
        <p:txBody>
          <a:bodyPr/>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313397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lvl1pPr>
              <a:buClr>
                <a:schemeClr val="tx2"/>
              </a:buClr>
              <a:buSzPct val="100000"/>
              <a:defRPr/>
            </a:lvl1pPr>
            <a:lvl2pPr>
              <a:buClr>
                <a:schemeClr val="tx2"/>
              </a:buClr>
              <a:buSzPct val="100000"/>
              <a:defRPr/>
            </a:lvl2pPr>
            <a:lvl3pPr>
              <a:buClr>
                <a:schemeClr val="tx2"/>
              </a:buClr>
              <a:buSzPct val="100000"/>
              <a:defRPr/>
            </a:lvl3pPr>
            <a:lvl4pPr>
              <a:buClr>
                <a:schemeClr val="tx2"/>
              </a:buClr>
              <a:buSzPct val="100000"/>
              <a:defRPr/>
            </a:lvl4pPr>
            <a:lvl5pPr>
              <a:buClr>
                <a:schemeClr val="tx2"/>
              </a:buClr>
              <a:buSzPct val="100000"/>
              <a:defRPr/>
            </a:lvl5p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Tree>
    <p:extLst>
      <p:ext uri="{BB962C8B-B14F-4D97-AF65-F5344CB8AC3E}">
        <p14:creationId xmlns:p14="http://schemas.microsoft.com/office/powerpoint/2010/main" val="36304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lvl1pPr>
              <a:buClr>
                <a:schemeClr val="tx2"/>
              </a:buClr>
              <a:buSzPct val="100000"/>
              <a:defRPr/>
            </a:lvl1pPr>
            <a:lvl2pPr>
              <a:buClr>
                <a:schemeClr val="tx2"/>
              </a:buClr>
              <a:buSzPct val="100000"/>
              <a:defRPr/>
            </a:lvl2pPr>
            <a:lvl3pPr>
              <a:buClr>
                <a:schemeClr val="tx2"/>
              </a:buClr>
              <a:buSzPct val="100000"/>
              <a:defRPr/>
            </a:lvl3pPr>
            <a:lvl4pPr>
              <a:buClr>
                <a:schemeClr val="tx2"/>
              </a:buClr>
              <a:buSzPct val="100000"/>
              <a:defRPr/>
            </a:lvl4pPr>
            <a:lvl5pPr>
              <a:buClr>
                <a:schemeClr val="tx2"/>
              </a:buClr>
              <a:buSzPct val="100000"/>
              <a:defRPr/>
            </a:lvl5p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Tree>
    <p:extLst>
      <p:ext uri="{BB962C8B-B14F-4D97-AF65-F5344CB8AC3E}">
        <p14:creationId xmlns:p14="http://schemas.microsoft.com/office/powerpoint/2010/main" val="79070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1013" y="327094"/>
            <a:ext cx="5719233" cy="591026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206356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1" y="1516534"/>
            <a:ext cx="10707843" cy="4706471"/>
          </a:xfrm>
        </p:spPr>
        <p:txBody>
          <a:bodyPr vert="horz" anchor="t"/>
          <a:lstStyle>
            <a:lvl1pPr>
              <a:defRPr baseline="0"/>
            </a:lvl1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Pladsholder til diasnummer 2"/>
          <p:cNvSpPr>
            <a:spLocks noGrp="1"/>
          </p:cNvSpPr>
          <p:nvPr>
            <p:ph type="sldNum" sz="quarter" idx="11"/>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960867008"/>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8" y="349319"/>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24"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2"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8" name="Shape 3"/>
          <p:cNvSpPr/>
          <p:nvPr userDrawn="1"/>
        </p:nvSpPr>
        <p:spPr>
          <a:xfrm>
            <a:off x="476252"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9"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48368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19070"/>
            <a:ext cx="11229673" cy="972000"/>
          </a:xfrm>
        </p:spPr>
        <p:txBody>
          <a:bodyPr>
            <a:normAutofit/>
          </a:bodyPr>
          <a:lstStyle>
            <a:lvl1pPr>
              <a:spcBef>
                <a:spcPts val="0"/>
              </a:spcBef>
              <a:defRPr sz="4900"/>
            </a:lvl1pPr>
          </a:lstStyle>
          <a:p>
            <a:pPr lvl="0"/>
            <a:r>
              <a:rPr lang="da-DK" dirty="0"/>
              <a:t>Klik for at tilføje tekst</a:t>
            </a:r>
          </a:p>
        </p:txBody>
      </p:sp>
    </p:spTree>
    <p:extLst>
      <p:ext uri="{BB962C8B-B14F-4D97-AF65-F5344CB8AC3E}">
        <p14:creationId xmlns:p14="http://schemas.microsoft.com/office/powerpoint/2010/main" val="45605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81550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95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1013"/>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2" y="2396921"/>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val="0"/>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923835"/>
            <a:ext cx="12192000" cy="595035"/>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sp>
        <p:nvSpPr>
          <p:cNvPr id="10" name="Rektangel 9"/>
          <p:cNvSpPr/>
          <p:nvPr userDrawn="1"/>
        </p:nvSpPr>
        <p:spPr>
          <a:xfrm>
            <a:off x="0" y="5334780"/>
            <a:ext cx="12192000" cy="595035"/>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spTree>
    <p:extLst>
      <p:ext uri="{BB962C8B-B14F-4D97-AF65-F5344CB8AC3E}">
        <p14:creationId xmlns:p14="http://schemas.microsoft.com/office/powerpoint/2010/main" val="3394564105"/>
      </p:ext>
    </p:extLst>
  </p:cSld>
  <p:clrMapOvr>
    <a:overrideClrMapping bg1="lt1" tx1="dk1" bg2="lt2" tx2="dk2" accent1="accent1" accent2="accent2" accent3="accent3" accent4="accent4" accent5="accent5" accent6="accent6" hlink="hlink" folHlink="folHlink"/>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7"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73" y="3441528"/>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0" name="Shape 10"/>
          <p:cNvSpPr>
            <a:spLocks noGrp="1"/>
          </p:cNvSpPr>
          <p:nvPr>
            <p:ph type="title" hasCustomPrompt="1"/>
          </p:nvPr>
        </p:nvSpPr>
        <p:spPr>
          <a:xfrm>
            <a:off x="476251" y="2560664"/>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76"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7" name="Shape 8"/>
          <p:cNvSpPr/>
          <p:nvPr/>
        </p:nvSpPr>
        <p:spPr>
          <a:xfrm>
            <a:off x="476291"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14"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342163395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1" y="1516534"/>
            <a:ext cx="10707843" cy="4706471"/>
          </a:xfrm>
        </p:spPr>
        <p:txBody>
          <a:bodyPr vert="horz"/>
          <a:lstStyle>
            <a:lvl1pPr>
              <a:defRPr baseline="0"/>
            </a:lvl1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930355538"/>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46" y="1875119"/>
            <a:ext cx="10708217" cy="4340411"/>
          </a:xfrm>
        </p:spPr>
        <p:txBody>
          <a:bodyPr vert="horz"/>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Tree>
    <p:extLst>
      <p:ext uri="{BB962C8B-B14F-4D97-AF65-F5344CB8AC3E}">
        <p14:creationId xmlns:p14="http://schemas.microsoft.com/office/powerpoint/2010/main" val="228525084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3" y="1919883"/>
            <a:ext cx="5459763" cy="4286250"/>
          </a:xfrm>
        </p:spPr>
        <p:txBody>
          <a:bodyPr vert="horz">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56" y="234619"/>
            <a:ext cx="11229673" cy="972000"/>
          </a:xfrm>
        </p:spPr>
        <p:txBody>
          <a:bodyPr>
            <a:normAutofit/>
          </a:bodyPr>
          <a:lstStyle>
            <a:lvl1pPr>
              <a:defRPr sz="4900"/>
            </a:lvl1pPr>
          </a:lstStyle>
          <a:p>
            <a:pPr lvl="0"/>
            <a:r>
              <a:rPr lang="da-DK" dirty="0"/>
              <a:t>Klik for at tilføje tekst</a:t>
            </a:r>
          </a:p>
        </p:txBody>
      </p:sp>
    </p:spTree>
    <p:extLst>
      <p:ext uri="{BB962C8B-B14F-4D97-AF65-F5344CB8AC3E}">
        <p14:creationId xmlns:p14="http://schemas.microsoft.com/office/powerpoint/2010/main" val="809017829"/>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3" y="1919883"/>
            <a:ext cx="5459763" cy="4286250"/>
          </a:xfrm>
        </p:spPr>
        <p:txBody>
          <a:bodyPr vert="horz" anchor="ctr">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i master</a:t>
            </a:r>
            <a:endParaRPr lang="da-DK" dirty="0"/>
          </a:p>
        </p:txBody>
      </p:sp>
    </p:spTree>
    <p:extLst>
      <p:ext uri="{BB962C8B-B14F-4D97-AF65-F5344CB8AC3E}">
        <p14:creationId xmlns:p14="http://schemas.microsoft.com/office/powerpoint/2010/main" val="114137340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46" y="1875119"/>
            <a:ext cx="10708217" cy="4340411"/>
          </a:xfrm>
        </p:spPr>
        <p:txBody>
          <a:bodyPr vert="horz" anchor="t"/>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
        <p:nvSpPr>
          <p:cNvPr id="4" name="Pladsholder til diasnummer 3"/>
          <p:cNvSpPr>
            <a:spLocks noGrp="1"/>
          </p:cNvSpPr>
          <p:nvPr>
            <p:ph type="sldNum" sz="quarter" idx="13"/>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297454374"/>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3"/>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46" y="333375"/>
            <a:ext cx="5617633" cy="5881688"/>
          </a:xfrm>
        </p:spPr>
        <p:txBody>
          <a:bodyPr/>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255785534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Tree>
    <p:extLst>
      <p:ext uri="{BB962C8B-B14F-4D97-AF65-F5344CB8AC3E}">
        <p14:creationId xmlns:p14="http://schemas.microsoft.com/office/powerpoint/2010/main" val="165049225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Tree>
    <p:extLst>
      <p:ext uri="{BB962C8B-B14F-4D97-AF65-F5344CB8AC3E}">
        <p14:creationId xmlns:p14="http://schemas.microsoft.com/office/powerpoint/2010/main" val="2904473591"/>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1013" y="327094"/>
            <a:ext cx="5719233" cy="591026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86341449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8" y="349319"/>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24"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2"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8" name="Shape 3"/>
          <p:cNvSpPr/>
          <p:nvPr userDrawn="1"/>
        </p:nvSpPr>
        <p:spPr>
          <a:xfrm>
            <a:off x="476252"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9"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894024531"/>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19070"/>
            <a:ext cx="11229673" cy="972000"/>
          </a:xfrm>
        </p:spPr>
        <p:txBody>
          <a:bodyPr>
            <a:normAutofit/>
          </a:bodyPr>
          <a:lstStyle>
            <a:lvl1pPr>
              <a:spcBef>
                <a:spcPts val="0"/>
              </a:spcBef>
              <a:defRPr sz="4900"/>
            </a:lvl1pPr>
          </a:lstStyle>
          <a:p>
            <a:pPr lvl="0"/>
            <a:r>
              <a:rPr lang="da-DK" dirty="0"/>
              <a:t>Klik for at tilføje tekst</a:t>
            </a:r>
          </a:p>
        </p:txBody>
      </p:sp>
    </p:spTree>
    <p:extLst>
      <p:ext uri="{BB962C8B-B14F-4D97-AF65-F5344CB8AC3E}">
        <p14:creationId xmlns:p14="http://schemas.microsoft.com/office/powerpoint/2010/main" val="152514417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312204345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3455672"/>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1013"/>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2" y="2396921"/>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923835"/>
            <a:ext cx="12192000" cy="595035"/>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sp>
        <p:nvSpPr>
          <p:cNvPr id="10" name="Rektangel 9"/>
          <p:cNvSpPr/>
          <p:nvPr userDrawn="1"/>
        </p:nvSpPr>
        <p:spPr>
          <a:xfrm>
            <a:off x="0" y="5334780"/>
            <a:ext cx="12192000" cy="595035"/>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algn="ctr" defTabSz="584200" latinLnBrk="1" hangingPunct="0"/>
            <a:endParaRPr lang="da-DK" sz="3200">
              <a:solidFill>
                <a:srgbClr val="FFFFFF"/>
              </a:solidFill>
              <a:effectLst>
                <a:outerShdw blurRad="25400" dist="33948" dir="2700000" rotWithShape="0">
                  <a:srgbClr val="3B3936"/>
                </a:outerShdw>
              </a:effectLst>
              <a:latin typeface="Palatino"/>
              <a:ea typeface="Palatino"/>
              <a:cs typeface="Palatino"/>
              <a:sym typeface="Palatino"/>
            </a:endParaRPr>
          </a:p>
        </p:txBody>
      </p:sp>
    </p:spTree>
    <p:extLst>
      <p:ext uri="{BB962C8B-B14F-4D97-AF65-F5344CB8AC3E}">
        <p14:creationId xmlns:p14="http://schemas.microsoft.com/office/powerpoint/2010/main" val="1578457435"/>
      </p:ext>
    </p:extLst>
  </p:cSld>
  <p:clrMapOvr>
    <a:overrideClrMapping bg1="lt1" tx1="dk1" bg2="lt2" tx2="dk2" accent1="accent1" accent2="accent2" accent3="accent3" accent4="accent4" accent5="accent5" accent6="accent6" hlink="hlink" folHlink="folHlink"/>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7"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73" y="3441528"/>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0" name="Shape 10"/>
          <p:cNvSpPr>
            <a:spLocks noGrp="1"/>
          </p:cNvSpPr>
          <p:nvPr>
            <p:ph type="title" hasCustomPrompt="1"/>
          </p:nvPr>
        </p:nvSpPr>
        <p:spPr>
          <a:xfrm>
            <a:off x="476251" y="2560664"/>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76"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17" name="Shape 8"/>
          <p:cNvSpPr/>
          <p:nvPr/>
        </p:nvSpPr>
        <p:spPr>
          <a:xfrm>
            <a:off x="476291"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14"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214652045"/>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chor="t">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3" y="1919883"/>
            <a:ext cx="5459763" cy="4286250"/>
          </a:xfrm>
        </p:spPr>
        <p:txBody>
          <a:bodyPr vert="horz" anchor="t">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56" y="234619"/>
            <a:ext cx="11229673" cy="972000"/>
          </a:xfrm>
        </p:spPr>
        <p:txBody>
          <a:bodyPr>
            <a:normAutofit/>
          </a:bodyPr>
          <a:lstStyle>
            <a:lvl1pPr>
              <a:defRPr sz="4900"/>
            </a:lvl1pPr>
          </a:lstStyle>
          <a:p>
            <a:pPr lvl="0"/>
            <a:r>
              <a:rPr lang="da-DK" dirty="0"/>
              <a:t>Klik for at tilføje tekst</a:t>
            </a:r>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612849346"/>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1" y="1516534"/>
            <a:ext cx="10707843" cy="4706471"/>
          </a:xfrm>
        </p:spPr>
        <p:txBody>
          <a:bodyPr vert="horz"/>
          <a:lstStyle>
            <a:lvl1pPr>
              <a:defRPr baseline="0"/>
            </a:lvl1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1061469137"/>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46" y="1875119"/>
            <a:ext cx="10708217" cy="4340411"/>
          </a:xfrm>
        </p:spPr>
        <p:txBody>
          <a:bodyPr vert="horz"/>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Tree>
    <p:extLst>
      <p:ext uri="{BB962C8B-B14F-4D97-AF65-F5344CB8AC3E}">
        <p14:creationId xmlns:p14="http://schemas.microsoft.com/office/powerpoint/2010/main" val="1302072852"/>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3" y="1919883"/>
            <a:ext cx="5459763" cy="4286250"/>
          </a:xfrm>
        </p:spPr>
        <p:txBody>
          <a:bodyPr vert="horz">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56" y="234619"/>
            <a:ext cx="11229673" cy="972000"/>
          </a:xfrm>
        </p:spPr>
        <p:txBody>
          <a:bodyPr>
            <a:normAutofit/>
          </a:bodyPr>
          <a:lstStyle>
            <a:lvl1pPr>
              <a:defRPr sz="4900"/>
            </a:lvl1pPr>
          </a:lstStyle>
          <a:p>
            <a:pPr lvl="0"/>
            <a:r>
              <a:rPr lang="da-DK" dirty="0"/>
              <a:t>Klik for at tilføje tekst</a:t>
            </a:r>
          </a:p>
        </p:txBody>
      </p:sp>
    </p:spTree>
    <p:extLst>
      <p:ext uri="{BB962C8B-B14F-4D97-AF65-F5344CB8AC3E}">
        <p14:creationId xmlns:p14="http://schemas.microsoft.com/office/powerpoint/2010/main" val="2502488074"/>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3" y="1919883"/>
            <a:ext cx="5459763" cy="4286250"/>
          </a:xfrm>
        </p:spPr>
        <p:txBody>
          <a:bodyPr vert="horz" anchor="ctr">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i master</a:t>
            </a:r>
            <a:endParaRPr lang="da-DK" dirty="0"/>
          </a:p>
        </p:txBody>
      </p:sp>
    </p:spTree>
    <p:extLst>
      <p:ext uri="{BB962C8B-B14F-4D97-AF65-F5344CB8AC3E}">
        <p14:creationId xmlns:p14="http://schemas.microsoft.com/office/powerpoint/2010/main" val="768849153"/>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3"/>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46" y="333375"/>
            <a:ext cx="5617633" cy="5881688"/>
          </a:xfrm>
        </p:spPr>
        <p:txBody>
          <a:bodyPr/>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048221662"/>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Tree>
    <p:extLst>
      <p:ext uri="{BB962C8B-B14F-4D97-AF65-F5344CB8AC3E}">
        <p14:creationId xmlns:p14="http://schemas.microsoft.com/office/powerpoint/2010/main" val="2927425470"/>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Tree>
    <p:extLst>
      <p:ext uri="{BB962C8B-B14F-4D97-AF65-F5344CB8AC3E}">
        <p14:creationId xmlns:p14="http://schemas.microsoft.com/office/powerpoint/2010/main" val="1609124837"/>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1013" y="327094"/>
            <a:ext cx="5719233" cy="591026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934606951"/>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8" y="349319"/>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24"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2"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8" name="Shape 3"/>
          <p:cNvSpPr/>
          <p:nvPr userDrawn="1"/>
        </p:nvSpPr>
        <p:spPr>
          <a:xfrm>
            <a:off x="476252"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pic>
        <p:nvPicPr>
          <p:cNvPr id="9"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977792591"/>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56" y="219070"/>
            <a:ext cx="11229673" cy="972000"/>
          </a:xfrm>
        </p:spPr>
        <p:txBody>
          <a:bodyPr>
            <a:normAutofit/>
          </a:bodyPr>
          <a:lstStyle>
            <a:lvl1pPr>
              <a:spcBef>
                <a:spcPts val="0"/>
              </a:spcBef>
              <a:defRPr sz="4900"/>
            </a:lvl1pPr>
          </a:lstStyle>
          <a:p>
            <a:pPr lvl="0"/>
            <a:r>
              <a:rPr lang="da-DK" dirty="0"/>
              <a:t>Klik for at tilføje tekst</a:t>
            </a:r>
          </a:p>
        </p:txBody>
      </p:sp>
    </p:spTree>
    <p:extLst>
      <p:ext uri="{BB962C8B-B14F-4D97-AF65-F5344CB8AC3E}">
        <p14:creationId xmlns:p14="http://schemas.microsoft.com/office/powerpoint/2010/main" val="387258702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101" y="1919883"/>
            <a:ext cx="5609651" cy="4286250"/>
          </a:xfrm>
        </p:spPr>
        <p:txBody>
          <a:bodyPr vert="horz" anchor="t">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3" y="1919883"/>
            <a:ext cx="5459763" cy="4286250"/>
          </a:xfrm>
        </p:spPr>
        <p:txBody>
          <a:bodyPr vert="horz" anchor="t">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i master</a:t>
            </a:r>
            <a:endParaRPr lang="da-DK" dirty="0"/>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286734107"/>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149509713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555364"/>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1301D3-04DC-4A4E-90C8-3CB48595D051}"/>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4A917068-E6F4-E543-AA2C-B9F0CA1291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6C76B172-674E-AD40-A3E3-8193DBEDDD28}"/>
              </a:ext>
            </a:extLst>
          </p:cNvPr>
          <p:cNvSpPr>
            <a:spLocks noGrp="1"/>
          </p:cNvSpPr>
          <p:nvPr>
            <p:ph type="dt" sz="half" idx="10"/>
          </p:nvPr>
        </p:nvSpPr>
        <p:spPr/>
        <p:txBody>
          <a:bodyPr/>
          <a:lstStyle/>
          <a:p>
            <a:fld id="{9146DC6F-2D95-EC40-9F64-678C69858A9F}" type="datetimeFigureOut">
              <a:rPr lang="da-DK" smtClean="0">
                <a:solidFill>
                  <a:srgbClr val="000000"/>
                </a:solidFill>
              </a:rPr>
              <a:pPr/>
              <a:t>14-01-2024</a:t>
            </a:fld>
            <a:endParaRPr lang="da-DK">
              <a:solidFill>
                <a:srgbClr val="000000"/>
              </a:solidFill>
            </a:endParaRPr>
          </a:p>
        </p:txBody>
      </p:sp>
      <p:sp>
        <p:nvSpPr>
          <p:cNvPr id="5" name="Pladsholder til sidefod 4">
            <a:extLst>
              <a:ext uri="{FF2B5EF4-FFF2-40B4-BE49-F238E27FC236}">
                <a16:creationId xmlns:a16="http://schemas.microsoft.com/office/drawing/2014/main" id="{B1D88D30-41E5-3A40-A544-EEEB29428B0E}"/>
              </a:ext>
            </a:extLst>
          </p:cNvPr>
          <p:cNvSpPr>
            <a:spLocks noGrp="1"/>
          </p:cNvSpPr>
          <p:nvPr>
            <p:ph type="ftr" sz="quarter" idx="11"/>
          </p:nvPr>
        </p:nvSpPr>
        <p:spPr/>
        <p:txBody>
          <a:bodyPr/>
          <a:lstStyle/>
          <a:p>
            <a:endParaRPr lang="da-DK">
              <a:solidFill>
                <a:srgbClr val="000000"/>
              </a:solidFill>
            </a:endParaRPr>
          </a:p>
        </p:txBody>
      </p:sp>
      <p:sp>
        <p:nvSpPr>
          <p:cNvPr id="6" name="Pladsholder til slidenummer 5">
            <a:extLst>
              <a:ext uri="{FF2B5EF4-FFF2-40B4-BE49-F238E27FC236}">
                <a16:creationId xmlns:a16="http://schemas.microsoft.com/office/drawing/2014/main" id="{E2F867EC-6B52-0B49-987F-4B3D03A51530}"/>
              </a:ext>
            </a:extLst>
          </p:cNvPr>
          <p:cNvSpPr>
            <a:spLocks noGrp="1"/>
          </p:cNvSpPr>
          <p:nvPr>
            <p:ph type="sldNum" sz="quarter" idx="12"/>
          </p:nvPr>
        </p:nvSpPr>
        <p:spPr/>
        <p:txBody>
          <a:bodyPr/>
          <a:lstStyle/>
          <a:p>
            <a:fld id="{656B6B3A-DF02-B047-8925-DDA2296DC5D6}" type="slidenum">
              <a:rPr lang="da-DK" smtClean="0">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5208874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0945"/>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4" y="2396853"/>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val="0"/>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0"/>
            <a:ext cx="12192000" cy="2442572"/>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
        <p:nvSpPr>
          <p:cNvPr id="10" name="Rektangel 9"/>
          <p:cNvSpPr/>
          <p:nvPr userDrawn="1"/>
        </p:nvSpPr>
        <p:spPr>
          <a:xfrm>
            <a:off x="0" y="4410945"/>
            <a:ext cx="12192000" cy="2442572"/>
          </a:xfrm>
          <a:prstGeom prst="rect">
            <a:avLst/>
          </a:prstGeom>
          <a:solidFill>
            <a:schemeClr val="bg2"/>
          </a:solidFill>
          <a:ln w="12700" cap="flat">
            <a:solidFill>
              <a:schemeClr val="bg2"/>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Tree>
    <p:extLst>
      <p:ext uri="{BB962C8B-B14F-4D97-AF65-F5344CB8AC3E}">
        <p14:creationId xmlns:p14="http://schemas.microsoft.com/office/powerpoint/2010/main" val="3786957632"/>
      </p:ext>
    </p:extLst>
  </p:cSld>
  <p:clrMapOvr>
    <a:overrideClrMapping bg1="lt1" tx1="dk1" bg2="lt2" tx2="dk2" accent1="accent1" accent2="accent2" accent3="accent3" accent4="accent4" accent5="accent5" accent6="accent6" hlink="hlink" folHlink="folHlink"/>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6"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28" y="3441526"/>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0" name="Shape 10"/>
          <p:cNvSpPr>
            <a:spLocks noGrp="1"/>
          </p:cNvSpPr>
          <p:nvPr>
            <p:ph type="title" hasCustomPrompt="1"/>
          </p:nvPr>
        </p:nvSpPr>
        <p:spPr>
          <a:xfrm>
            <a:off x="476250" y="2560596"/>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51"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7" name="Shape 8"/>
          <p:cNvSpPr/>
          <p:nvPr/>
        </p:nvSpPr>
        <p:spPr>
          <a:xfrm>
            <a:off x="476252"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14"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419464826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0" y="1516530"/>
            <a:ext cx="10707843" cy="4706471"/>
          </a:xfrm>
        </p:spPr>
        <p:txBody>
          <a:bodyPr vert="horz" anchor="t"/>
          <a:lstStyle>
            <a:lvl1pPr>
              <a:defRPr baseline="0"/>
            </a:lvl1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Pladsholder til diasnummer 2"/>
          <p:cNvSpPr>
            <a:spLocks noGrp="1"/>
          </p:cNvSpPr>
          <p:nvPr>
            <p:ph type="sldNum" sz="quarter" idx="11"/>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504301330"/>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01" y="1875119"/>
            <a:ext cx="10708217" cy="4340411"/>
          </a:xfrm>
        </p:spPr>
        <p:txBody>
          <a:bodyPr vert="horz" anchor="t"/>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
        <p:nvSpPr>
          <p:cNvPr id="4" name="Pladsholder til diasnummer 3"/>
          <p:cNvSpPr>
            <a:spLocks noGrp="1"/>
          </p:cNvSpPr>
          <p:nvPr>
            <p:ph type="sldNum" sz="quarter" idx="13"/>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4192536180"/>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chor="t">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1" y="1919883"/>
            <a:ext cx="5459763" cy="4286250"/>
          </a:xfrm>
        </p:spPr>
        <p:txBody>
          <a:bodyPr vert="horz" anchor="t">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10" y="234619"/>
            <a:ext cx="11229673" cy="972000"/>
          </a:xfrm>
        </p:spPr>
        <p:txBody>
          <a:bodyPr>
            <a:normAutofit/>
          </a:bodyPr>
          <a:lstStyle>
            <a:lvl1pPr>
              <a:defRPr sz="4900"/>
            </a:lvl1pPr>
          </a:lstStyle>
          <a:p>
            <a:pPr lvl="0"/>
            <a:r>
              <a:rPr lang="da-DK" dirty="0"/>
              <a:t>Klik for at tilføje tekst</a:t>
            </a:r>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41901902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chor="t">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1" y="1919883"/>
            <a:ext cx="5459763" cy="4286250"/>
          </a:xfrm>
        </p:spPr>
        <p:txBody>
          <a:bodyPr vert="horz" anchor="t">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titeltypografien i masteren</a:t>
            </a:r>
            <a:endParaRPr lang="da-DK" dirty="0"/>
          </a:p>
        </p:txBody>
      </p:sp>
      <p:sp>
        <p:nvSpPr>
          <p:cNvPr id="3" name="Pladsholder til diasnummer 2"/>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93999768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2"/>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01" y="333375"/>
            <a:ext cx="5617633" cy="5881688"/>
          </a:xfrm>
        </p:spPr>
        <p:txBody>
          <a:bodyPr anchor="t"/>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2" name="Pladsholder til diasnummer 1"/>
          <p:cNvSpPr>
            <a:spLocks noGrp="1"/>
          </p:cNvSpPr>
          <p:nvPr>
            <p:ph type="sldNum" sz="quarter" idx="14"/>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78318264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3"/>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46" y="333375"/>
            <a:ext cx="5617633" cy="5881688"/>
          </a:xfrm>
        </p:spPr>
        <p:txBody>
          <a:bodyPr anchor="t"/>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
        <p:nvSpPr>
          <p:cNvPr id="2" name="Pladsholder til diasnummer 1"/>
          <p:cNvSpPr>
            <a:spLocks noGrp="1"/>
          </p:cNvSpPr>
          <p:nvPr>
            <p:ph type="sldNum" sz="quarter" idx="14"/>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361730566"/>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nchor="t"/>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diasnummer 3"/>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226281035"/>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nchor="t"/>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5" name="Pladsholder til diasnummer 4"/>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685348261"/>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0968" y="327026"/>
            <a:ext cx="5719233" cy="5910263"/>
          </a:xfrm>
        </p:spPr>
        <p:txBody>
          <a:bodyPr anchor="t"/>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3" name="Pladsholder til diasnummer 2"/>
          <p:cNvSpPr>
            <a:spLocks noGrp="1"/>
          </p:cNvSpPr>
          <p:nvPr>
            <p:ph type="sldNum" sz="quarter" idx="16"/>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1369259897"/>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7" y="349251"/>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01"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0"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8" name="Shape 3"/>
          <p:cNvSpPr/>
          <p:nvPr userDrawn="1"/>
        </p:nvSpPr>
        <p:spPr>
          <a:xfrm>
            <a:off x="476250"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9"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4" name="Pladsholder til diasnummer 3"/>
          <p:cNvSpPr>
            <a:spLocks noGrp="1"/>
          </p:cNvSpPr>
          <p:nvPr>
            <p:ph type="sldNum" sz="quarter" idx="12"/>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576113499"/>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19070"/>
            <a:ext cx="11229673" cy="972000"/>
          </a:xfrm>
        </p:spPr>
        <p:txBody>
          <a:bodyPr>
            <a:normAutofit/>
          </a:bodyPr>
          <a:lstStyle>
            <a:lvl1pPr>
              <a:spcBef>
                <a:spcPts val="0"/>
              </a:spcBef>
              <a:defRPr sz="4900"/>
            </a:lvl1pPr>
          </a:lstStyle>
          <a:p>
            <a:pPr lvl="0"/>
            <a:r>
              <a:rPr lang="da-DK" dirty="0"/>
              <a:t>Klik for at tilføje tekst</a:t>
            </a:r>
          </a:p>
        </p:txBody>
      </p:sp>
      <p:sp>
        <p:nvSpPr>
          <p:cNvPr id="3" name="Pladsholder til diasnummer 2"/>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2350504136"/>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60188619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
        <p:nvSpPr>
          <p:cNvPr id="2" name="Pladsholder til diasnummer 1"/>
          <p:cNvSpPr>
            <a:spLocks noGrp="1"/>
          </p:cNvSpPr>
          <p:nvPr>
            <p:ph type="sldNum" sz="quarter" idx="10"/>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20315639"/>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Ref idx="1001">
        <a:schemeClr val="bg1"/>
      </p:bgRef>
    </p:bg>
    <p:spTree>
      <p:nvGrpSpPr>
        <p:cNvPr id="1" name=""/>
        <p:cNvGrpSpPr/>
        <p:nvPr/>
      </p:nvGrpSpPr>
      <p:grpSpPr>
        <a:xfrm>
          <a:off x="0" y="0"/>
          <a:ext cx="0" cy="0"/>
          <a:chOff x="0" y="0"/>
          <a:chExt cx="0" cy="0"/>
        </a:xfrm>
      </p:grpSpPr>
      <p:sp>
        <p:nvSpPr>
          <p:cNvPr id="24" name="Shape 7"/>
          <p:cNvSpPr/>
          <p:nvPr userDrawn="1"/>
        </p:nvSpPr>
        <p:spPr>
          <a:xfrm>
            <a:off x="0" y="4410945"/>
            <a:ext cx="12192000"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sp>
        <p:nvSpPr>
          <p:cNvPr id="29" name="Shape 8"/>
          <p:cNvSpPr/>
          <p:nvPr userDrawn="1"/>
        </p:nvSpPr>
        <p:spPr>
          <a:xfrm flipV="1">
            <a:off x="-574" y="2396853"/>
            <a:ext cx="12192575" cy="4571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457200">
              <a:defRPr sz="1200">
                <a:solidFill>
                  <a:srgbClr val="000000"/>
                </a:solidFill>
                <a:latin typeface="Helvetica"/>
                <a:ea typeface="Helvetica"/>
                <a:cs typeface="Helvetica"/>
                <a:sym typeface="Helvetica"/>
              </a:defRPr>
            </a:pPr>
            <a:endParaRPr sz="1200" kern="0">
              <a:solidFill>
                <a:srgbClr val="000000"/>
              </a:solidFill>
              <a:latin typeface="Helvetica"/>
              <a:ea typeface="Helvetica"/>
              <a:cs typeface="Helvetica"/>
              <a:sym typeface="Helvetica"/>
            </a:endParaRPr>
          </a:p>
        </p:txBody>
      </p:sp>
      <p:pic>
        <p:nvPicPr>
          <p:cNvPr id="7" name="ÆS_logo_POS_CMYK.pdf"/>
          <p:cNvPicPr/>
          <p:nvPr userDrawn="1"/>
        </p:nvPicPr>
        <p:blipFill>
          <a:blip r:embed="rId2" cstate="email">
            <a:extLst>
              <a:ext uri="{28A0092B-C50C-407E-A947-70E740481C1C}">
                <a14:useLocalDpi xmlns:a14="http://schemas.microsoft.com/office/drawing/2010/main"/>
              </a:ext>
            </a:extLst>
          </a:blip>
          <a:stretch>
            <a:fillRect/>
          </a:stretch>
        </p:blipFill>
        <p:spPr>
          <a:xfrm>
            <a:off x="3599499" y="3005188"/>
            <a:ext cx="4991916" cy="851668"/>
          </a:xfrm>
          <a:prstGeom prst="rect">
            <a:avLst/>
          </a:prstGeom>
          <a:ln w="12700">
            <a:miter lim="400000"/>
          </a:ln>
        </p:spPr>
      </p:pic>
      <p:sp>
        <p:nvSpPr>
          <p:cNvPr id="3" name="Rektangel 2"/>
          <p:cNvSpPr/>
          <p:nvPr userDrawn="1"/>
        </p:nvSpPr>
        <p:spPr>
          <a:xfrm>
            <a:off x="0" y="0"/>
            <a:ext cx="12192000" cy="2442572"/>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
        <p:nvSpPr>
          <p:cNvPr id="10" name="Rektangel 9"/>
          <p:cNvSpPr/>
          <p:nvPr userDrawn="1"/>
        </p:nvSpPr>
        <p:spPr>
          <a:xfrm>
            <a:off x="0" y="4410945"/>
            <a:ext cx="12192000" cy="2442572"/>
          </a:xfrm>
          <a:prstGeom prst="rect">
            <a:avLst/>
          </a:prstGeom>
          <a:solidFill>
            <a:schemeClr val="bg2"/>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endParaRPr>
          </a:p>
        </p:txBody>
      </p:sp>
    </p:spTree>
    <p:extLst>
      <p:ext uri="{BB962C8B-B14F-4D97-AF65-F5344CB8AC3E}">
        <p14:creationId xmlns:p14="http://schemas.microsoft.com/office/powerpoint/2010/main" val="3263287443"/>
      </p:ext>
    </p:extLst>
  </p:cSld>
  <p:clrMapOvr>
    <a:overrideClrMapping bg1="lt1" tx1="dk1" bg2="lt2" tx2="dk2" accent1="accent1" accent2="accent2" accent3="accent3" accent4="accent4" accent5="accent5" accent6="accent6" hlink="hlink" folHlink="folHlink"/>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6"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bg2"/>
                </a:solidFill>
                <a:latin typeface="Arial"/>
                <a:cs typeface="Arial"/>
              </a:defRPr>
            </a:lvl1pPr>
          </a:lstStyle>
          <a:p>
            <a:pPr lvl="0"/>
            <a:r>
              <a:rPr lang="da-DK" dirty="0"/>
              <a:t>Klik for at tilføje tekst</a:t>
            </a:r>
          </a:p>
        </p:txBody>
      </p:sp>
      <p:sp>
        <p:nvSpPr>
          <p:cNvPr id="9" name="Shape 9"/>
          <p:cNvSpPr/>
          <p:nvPr/>
        </p:nvSpPr>
        <p:spPr>
          <a:xfrm rot="16200000">
            <a:off x="6917128" y="3441526"/>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0" name="Shape 10"/>
          <p:cNvSpPr>
            <a:spLocks noGrp="1"/>
          </p:cNvSpPr>
          <p:nvPr>
            <p:ph type="title" hasCustomPrompt="1"/>
          </p:nvPr>
        </p:nvSpPr>
        <p:spPr>
          <a:xfrm>
            <a:off x="476250" y="2560596"/>
            <a:ext cx="6750844" cy="1711223"/>
          </a:xfrm>
          <a:prstGeom prst="rect">
            <a:avLst/>
          </a:prstGeom>
        </p:spPr>
        <p:txBody>
          <a:bodyPr>
            <a:noAutofit/>
          </a:bodyPr>
          <a:lstStyle>
            <a:lvl1pPr algn="l">
              <a:spcBef>
                <a:spcPts val="0"/>
              </a:spcBef>
              <a:defRPr sz="5400"/>
            </a:lvl1pPr>
          </a:lstStyle>
          <a:p>
            <a:pPr lvl="0">
              <a:defRPr sz="1800">
                <a:solidFill>
                  <a:srgbClr val="000000"/>
                </a:solidFill>
              </a:defRPr>
            </a:pPr>
            <a:r>
              <a:rPr lang="da-DK" sz="4900" dirty="0">
                <a:solidFill>
                  <a:srgbClr val="B3242A"/>
                </a:solidFill>
              </a:rPr>
              <a:t>Klik for at tilføje tekst</a:t>
            </a:r>
            <a:endParaRPr sz="4900" dirty="0">
              <a:solidFill>
                <a:srgbClr val="B3242A"/>
              </a:solidFill>
            </a:endParaRP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1">
                    <a:lumMod val="85000"/>
                    <a:lumOff val="15000"/>
                  </a:schemeClr>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dirty="0">
                <a:solidFill>
                  <a:srgbClr val="414141"/>
                </a:solidFill>
              </a:rPr>
              <a:t>Klik for at tilføje tekst</a:t>
            </a:r>
          </a:p>
        </p:txBody>
      </p:sp>
      <p:sp>
        <p:nvSpPr>
          <p:cNvPr id="12" name="Shape 7"/>
          <p:cNvSpPr/>
          <p:nvPr/>
        </p:nvSpPr>
        <p:spPr>
          <a:xfrm>
            <a:off x="476251"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17" name="Shape 8"/>
          <p:cNvSpPr/>
          <p:nvPr/>
        </p:nvSpPr>
        <p:spPr>
          <a:xfrm>
            <a:off x="476252"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14"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130551698"/>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25933"/>
            <a:ext cx="11229673" cy="972000"/>
          </a:xfrm>
        </p:spPr>
        <p:txBody>
          <a:bodyPr>
            <a:normAutofit/>
          </a:bodyPr>
          <a:lstStyle>
            <a:lvl1pPr>
              <a:defRPr sz="4900"/>
            </a:lvl1pPr>
          </a:lstStyle>
          <a:p>
            <a:r>
              <a:rPr lang="da-DK" dirty="0"/>
              <a:t>Klik for at tilføje tekst</a:t>
            </a:r>
          </a:p>
        </p:txBody>
      </p:sp>
      <p:sp>
        <p:nvSpPr>
          <p:cNvPr id="4" name="Pladsholder til indhold 3"/>
          <p:cNvSpPr>
            <a:spLocks noGrp="1"/>
          </p:cNvSpPr>
          <p:nvPr>
            <p:ph sz="quarter" idx="10" hasCustomPrompt="1"/>
          </p:nvPr>
        </p:nvSpPr>
        <p:spPr>
          <a:xfrm>
            <a:off x="1016000" y="1516530"/>
            <a:ext cx="10707843" cy="4706471"/>
          </a:xfrm>
        </p:spPr>
        <p:txBody>
          <a:bodyPr vert="horz"/>
          <a:lstStyle>
            <a:lvl1pPr>
              <a:defRPr baseline="0"/>
            </a:lvl1pPr>
          </a:lstStyle>
          <a:p>
            <a:pPr lvl="0"/>
            <a:r>
              <a:rPr lang="da-DK" dirty="0"/>
              <a:t>Klik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83264496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nchor="t"/>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diasnummer 3"/>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683933915"/>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indhold 2"/>
          <p:cNvSpPr>
            <a:spLocks noGrp="1"/>
          </p:cNvSpPr>
          <p:nvPr>
            <p:ph sz="quarter" idx="12" hasCustomPrompt="1"/>
          </p:nvPr>
        </p:nvSpPr>
        <p:spPr>
          <a:xfrm>
            <a:off x="1016001" y="1875119"/>
            <a:ext cx="10708217" cy="4340411"/>
          </a:xfrm>
        </p:spPr>
        <p:txBody>
          <a:bodyPr vert="horz"/>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p:txBody>
          <a:bodyPr>
            <a:normAutofit/>
          </a:bodyPr>
          <a:lstStyle>
            <a:lvl1pPr>
              <a:defRPr sz="4900"/>
            </a:lvl1pPr>
          </a:lstStyle>
          <a:p>
            <a:r>
              <a:rPr lang="da-DK" dirty="0"/>
              <a:t>Klik for at tilføje tekst</a:t>
            </a:r>
          </a:p>
        </p:txBody>
      </p:sp>
    </p:spTree>
    <p:extLst>
      <p:ext uri="{BB962C8B-B14F-4D97-AF65-F5344CB8AC3E}">
        <p14:creationId xmlns:p14="http://schemas.microsoft.com/office/powerpoint/2010/main" val="197350667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ormAutofit/>
          </a:bodyPr>
          <a:lstStyle>
            <a:lvl1pPr marL="0" marR="0" indent="0" algn="l" defTabSz="410751" eaLnBrk="1" fontAlgn="auto" latinLnBrk="0" hangingPunct="1">
              <a:lnSpc>
                <a:spcPct val="100000"/>
              </a:lnSpc>
              <a:spcBef>
                <a:spcPts val="1000"/>
              </a:spcBef>
              <a:spcAft>
                <a:spcPts val="0"/>
              </a:spcAft>
              <a:buClrTx/>
              <a:buSzPct val="75000"/>
              <a:buFont typeface="Arial"/>
              <a:buNone/>
              <a:tabLst/>
              <a:defRPr lang="da-DK" sz="1800" b="0" i="0">
                <a:solidFill>
                  <a:srgbClr val="000000"/>
                </a:solidFill>
                <a:latin typeface="+mn-lt"/>
                <a:ea typeface="Georgia"/>
                <a:cs typeface="Arial"/>
                <a:sym typeface="Georgia"/>
              </a:defRPr>
            </a:lvl1pPr>
            <a:lvl2pPr marL="482400" indent="-241200">
              <a:spcBef>
                <a:spcPts val="1000"/>
              </a:spcBef>
              <a:defRPr lang="da-DK" sz="2100" b="0" i="0" dirty="0" smtClean="0">
                <a:solidFill>
                  <a:schemeClr val="tx1">
                    <a:lumMod val="75000"/>
                    <a:lumOff val="25000"/>
                  </a:schemeClr>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marL="241200" marR="0" lvl="0" indent="-241200" algn="l" defTabSz="410751" eaLnBrk="1" fontAlgn="auto" latinLnBrk="0" hangingPunct="1">
              <a:lnSpc>
                <a:spcPct val="100000"/>
              </a:lnSpc>
              <a:spcBef>
                <a:spcPts val="1000"/>
              </a:spcBef>
              <a:spcAft>
                <a:spcPts val="0"/>
              </a:spcAft>
              <a:buClrTx/>
              <a:buSzPct val="75000"/>
              <a:buFont typeface="Arial"/>
              <a:buChar char="•"/>
              <a:tabLst/>
              <a:defRPr sz="1800">
                <a:solidFill>
                  <a:srgbClr val="000000"/>
                </a:solidFill>
              </a:defRPr>
            </a:pPr>
            <a:r>
              <a:rPr lang="da-DK" sz="2400" dirty="0"/>
              <a:t>Klik for at tilføje tekst</a:t>
            </a:r>
            <a:endParaRPr lang="da-DK" sz="2200" dirty="0">
              <a:solidFill>
                <a:srgbClr val="414141"/>
              </a:solidFill>
            </a:endParaRP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9" name="Pladsholder til indhold 5"/>
          <p:cNvSpPr>
            <a:spLocks noGrp="1"/>
          </p:cNvSpPr>
          <p:nvPr>
            <p:ph sz="quarter" idx="14" hasCustomPrompt="1"/>
          </p:nvPr>
        </p:nvSpPr>
        <p:spPr>
          <a:xfrm>
            <a:off x="476251" y="1919883"/>
            <a:ext cx="5459763" cy="4286250"/>
          </a:xfrm>
        </p:spPr>
        <p:txBody>
          <a:bodyPr vert="horz">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2" name="Titel 1"/>
          <p:cNvSpPr>
            <a:spLocks noGrp="1"/>
          </p:cNvSpPr>
          <p:nvPr>
            <p:ph type="title" hasCustomPrompt="1"/>
          </p:nvPr>
        </p:nvSpPr>
        <p:spPr>
          <a:xfrm>
            <a:off x="484210" y="234619"/>
            <a:ext cx="11229673" cy="972000"/>
          </a:xfrm>
        </p:spPr>
        <p:txBody>
          <a:bodyPr>
            <a:normAutofit/>
          </a:bodyPr>
          <a:lstStyle>
            <a:lvl1pPr>
              <a:defRPr sz="4900"/>
            </a:lvl1pPr>
          </a:lstStyle>
          <a:p>
            <a:pPr lvl="0"/>
            <a:r>
              <a:rPr lang="da-DK" dirty="0"/>
              <a:t>Klik for at tilføje tekst</a:t>
            </a:r>
          </a:p>
        </p:txBody>
      </p:sp>
    </p:spTree>
    <p:extLst>
      <p:ext uri="{BB962C8B-B14F-4D97-AF65-F5344CB8AC3E}">
        <p14:creationId xmlns:p14="http://schemas.microsoft.com/office/powerpoint/2010/main" val="715260343"/>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ormAutofit/>
          </a:bodyPr>
          <a:lstStyle>
            <a:lvl1pPr marL="241200" indent="-241200">
              <a:lnSpc>
                <a:spcPct val="100000"/>
              </a:lnSpc>
              <a:spcBef>
                <a:spcPts val="1000"/>
              </a:spcBef>
              <a:buFont typeface="Arial"/>
              <a:buChar char="•"/>
              <a:defRPr lang="da-DK" sz="2200" b="0" i="0" baseline="0" dirty="0" smtClean="0">
                <a:solidFill>
                  <a:schemeClr val="tx1">
                    <a:lumMod val="75000"/>
                    <a:lumOff val="25000"/>
                  </a:schemeClr>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1">
                    <a:lumMod val="75000"/>
                    <a:lumOff val="25000"/>
                  </a:schemeClr>
                </a:solidFill>
                <a:latin typeface="+mn-lt"/>
                <a:ea typeface="Georgia"/>
                <a:cs typeface="Arial"/>
                <a:sym typeface="Georgia"/>
              </a:defRPr>
            </a:lvl4pPr>
            <a:lvl5pPr>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8" name="Pladsholder til indhold 5"/>
          <p:cNvSpPr>
            <a:spLocks noGrp="1"/>
          </p:cNvSpPr>
          <p:nvPr>
            <p:ph sz="quarter" idx="14" hasCustomPrompt="1"/>
          </p:nvPr>
        </p:nvSpPr>
        <p:spPr>
          <a:xfrm>
            <a:off x="476251" y="1919883"/>
            <a:ext cx="5459763" cy="4286250"/>
          </a:xfrm>
        </p:spPr>
        <p:txBody>
          <a:bodyPr vert="horz" anchor="ctr">
            <a:normAutofit/>
          </a:bodyPr>
          <a:lstStyle>
            <a:lvl1pPr marL="24046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0920" indent="-241200" algn="l">
              <a:lnSpc>
                <a:spcPct val="100000"/>
              </a:lnSpc>
              <a:spcBef>
                <a:spcPts val="1000"/>
              </a:spcBef>
              <a:buFont typeface="Arial"/>
              <a:buChar char="•"/>
              <a:defRPr sz="2200">
                <a:solidFill>
                  <a:schemeClr val="tx1">
                    <a:lumMod val="75000"/>
                    <a:lumOff val="25000"/>
                  </a:schemeClr>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1200" algn="l">
              <a:spcBef>
                <a:spcPts val="1000"/>
              </a:spcBef>
              <a:defRPr sz="2100"/>
            </a:lvl5pPr>
          </a:lstStyle>
          <a:p>
            <a:pPr lvl="0"/>
            <a:r>
              <a:rPr lang="da-DK" dirty="0"/>
              <a:t>Klik for at tilføje tekst</a:t>
            </a:r>
          </a:p>
          <a:p>
            <a:pPr lvl="1">
              <a:defRPr sz="1800">
                <a:solidFill>
                  <a:srgbClr val="000000"/>
                </a:solidFill>
              </a:defRPr>
            </a:pPr>
            <a:r>
              <a:rPr lang="da-DK" sz="2200" dirty="0">
                <a:solidFill>
                  <a:srgbClr val="414141"/>
                </a:solidFill>
              </a:rPr>
              <a:t>Andet niveau</a:t>
            </a:r>
          </a:p>
          <a:p>
            <a:pPr lvl="3">
              <a:defRPr sz="1800">
                <a:solidFill>
                  <a:srgbClr val="000000"/>
                </a:solidFill>
              </a:defRPr>
            </a:pPr>
            <a:r>
              <a:rPr lang="da-DK" sz="2200" dirty="0">
                <a:solidFill>
                  <a:srgbClr val="414141"/>
                </a:solidFill>
              </a:rPr>
              <a:t>Tredje niveau</a:t>
            </a:r>
          </a:p>
        </p:txBody>
      </p:sp>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2" name="Titel 1"/>
          <p:cNvSpPr>
            <a:spLocks noGrp="1"/>
          </p:cNvSpPr>
          <p:nvPr>
            <p:ph type="title"/>
          </p:nvPr>
        </p:nvSpPr>
        <p:spPr/>
        <p:txBody>
          <a:bodyPr>
            <a:normAutofit/>
          </a:bodyPr>
          <a:lstStyle>
            <a:lvl1pPr>
              <a:defRPr sz="4900"/>
            </a:lvl1pPr>
          </a:lstStyle>
          <a:p>
            <a:r>
              <a:rPr lang="da-DK"/>
              <a:t>Klik for at redigere i master</a:t>
            </a:r>
            <a:endParaRPr lang="da-DK" dirty="0"/>
          </a:p>
        </p:txBody>
      </p:sp>
    </p:spTree>
    <p:extLst>
      <p:ext uri="{BB962C8B-B14F-4D97-AF65-F5344CB8AC3E}">
        <p14:creationId xmlns:p14="http://schemas.microsoft.com/office/powerpoint/2010/main" val="2866393231"/>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dirty="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1"/>
                </a:solidFill>
              </a:defRPr>
            </a:lvl1pPr>
            <a:lvl2pPr marL="480920" indent="-241093">
              <a:lnSpc>
                <a:spcPct val="100000"/>
              </a:lnSpc>
              <a:spcBef>
                <a:spcPts val="1000"/>
              </a:spcBef>
              <a:buSzTx/>
              <a:buFont typeface="Arial"/>
              <a:buChar char="•"/>
              <a:defRPr sz="1700">
                <a:solidFill>
                  <a:schemeClr val="tx2">
                    <a:lumMod val="50000"/>
                  </a:schemeClr>
                </a:solidFill>
              </a:defRPr>
            </a:lvl2pPr>
            <a:lvl3pPr marL="721381" indent="-241093">
              <a:lnSpc>
                <a:spcPct val="100000"/>
              </a:lnSpc>
              <a:spcBef>
                <a:spcPts val="1000"/>
              </a:spcBef>
              <a:buSzTx/>
              <a:buFont typeface="Arial"/>
              <a:buChar char="•"/>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a:p>
            <a:pPr lvl="1">
              <a:defRPr sz="1800">
                <a:solidFill>
                  <a:srgbClr val="000000"/>
                </a:solidFill>
              </a:defRPr>
            </a:pPr>
            <a:r>
              <a:rPr lang="da-DK" sz="1700" dirty="0">
                <a:solidFill>
                  <a:srgbClr val="414141"/>
                </a:solidFill>
              </a:rPr>
              <a:t>Andet niveau</a:t>
            </a:r>
          </a:p>
          <a:p>
            <a:pPr lvl="2">
              <a:defRPr sz="1800">
                <a:solidFill>
                  <a:srgbClr val="000000"/>
                </a:solidFill>
              </a:defRPr>
            </a:pPr>
            <a:r>
              <a:rPr lang="da-DK" sz="1700" dirty="0">
                <a:solidFill>
                  <a:srgbClr val="414141"/>
                </a:solidFill>
              </a:rPr>
              <a:t>Tredje niveau</a:t>
            </a:r>
          </a:p>
        </p:txBody>
      </p:sp>
      <p:sp>
        <p:nvSpPr>
          <p:cNvPr id="9" name="Pladsholder til tekst 2"/>
          <p:cNvSpPr>
            <a:spLocks noGrp="1"/>
          </p:cNvSpPr>
          <p:nvPr>
            <p:ph type="body" sz="quarter" idx="12" hasCustomPrompt="1"/>
          </p:nvPr>
        </p:nvSpPr>
        <p:spPr>
          <a:xfrm>
            <a:off x="507861" y="1646702"/>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dirty="0"/>
              <a:t>Klik for at tilføje tekst</a:t>
            </a:r>
          </a:p>
        </p:txBody>
      </p:sp>
      <p:sp>
        <p:nvSpPr>
          <p:cNvPr id="3" name="Pladsholder til indhold 2"/>
          <p:cNvSpPr>
            <a:spLocks noGrp="1"/>
          </p:cNvSpPr>
          <p:nvPr>
            <p:ph sz="quarter" idx="13" hasCustomPrompt="1"/>
          </p:nvPr>
        </p:nvSpPr>
        <p:spPr>
          <a:xfrm>
            <a:off x="6096001" y="333375"/>
            <a:ext cx="5617633" cy="5881688"/>
          </a:xfrm>
        </p:spPr>
        <p:txBody>
          <a:bodyPr/>
          <a:lstStyle>
            <a:lvl1pPr algn="l">
              <a:defRPr/>
            </a:lvl1pPr>
            <a:lvl2pPr algn="l">
              <a:defRPr/>
            </a:lvl2pPr>
            <a:lvl3pPr algn="l">
              <a:defRPr/>
            </a:lvl3pPr>
            <a:lvl4pPr algn="l">
              <a:defRPr/>
            </a:lvl4pPr>
            <a:lvl5pPr algn="l">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0"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247815982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Tree>
    <p:extLst>
      <p:ext uri="{BB962C8B-B14F-4D97-AF65-F5344CB8AC3E}">
        <p14:creationId xmlns:p14="http://schemas.microsoft.com/office/powerpoint/2010/main" val="3112079361"/>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Tree>
    <p:extLst>
      <p:ext uri="{BB962C8B-B14F-4D97-AF65-F5344CB8AC3E}">
        <p14:creationId xmlns:p14="http://schemas.microsoft.com/office/powerpoint/2010/main" val="381267990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Indhold med billedtekst">
    <p:spTree>
      <p:nvGrpSpPr>
        <p:cNvPr id="1" name=""/>
        <p:cNvGrpSpPr/>
        <p:nvPr/>
      </p:nvGrpSpPr>
      <p:grpSpPr>
        <a:xfrm>
          <a:off x="0" y="0"/>
          <a:ext cx="0" cy="0"/>
          <a:chOff x="0" y="0"/>
          <a:chExt cx="0" cy="0"/>
        </a:xfrm>
      </p:grpSpPr>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26" name="Shape 26"/>
          <p:cNvSpPr>
            <a:spLocks noGrp="1"/>
          </p:cNvSpPr>
          <p:nvPr>
            <p:ph type="body" idx="1" hasCustomPrompt="1"/>
          </p:nvPr>
        </p:nvSpPr>
        <p:spPr>
          <a:xfrm>
            <a:off x="476251" y="1988840"/>
            <a:ext cx="5322093" cy="4217004"/>
          </a:xfrm>
          <a:prstGeom prst="rect">
            <a:avLst/>
          </a:prstGeom>
        </p:spPr>
        <p:txBody>
          <a:bodyPr anchor="t">
            <a:normAutofit/>
          </a:bodyPr>
          <a:lstStyle>
            <a:lvl1pPr marL="0" indent="0">
              <a:lnSpc>
                <a:spcPct val="100000"/>
              </a:lnSpc>
              <a:spcBef>
                <a:spcPts val="1000"/>
              </a:spcBef>
              <a:buSzTx/>
              <a:buNone/>
              <a:defRPr sz="2200" b="0" baseline="0">
                <a:solidFill>
                  <a:schemeClr val="tx1">
                    <a:lumMod val="75000"/>
                    <a:lumOff val="25000"/>
                  </a:schemeClr>
                </a:solidFill>
              </a:defRPr>
            </a:lvl1pPr>
            <a:lvl2pPr marL="239827" indent="0">
              <a:lnSpc>
                <a:spcPct val="120000"/>
              </a:lnSpc>
              <a:spcBef>
                <a:spcPts val="0"/>
              </a:spcBef>
              <a:buSzTx/>
              <a:buFontTx/>
              <a:buNone/>
              <a:defRPr sz="1700">
                <a:solidFill>
                  <a:schemeClr val="tx2">
                    <a:lumMod val="50000"/>
                  </a:schemeClr>
                </a:solidFill>
              </a:defRPr>
            </a:lvl2pPr>
            <a:lvl3pPr marL="480288" indent="0">
              <a:lnSpc>
                <a:spcPct val="120000"/>
              </a:lnSpc>
              <a:spcBef>
                <a:spcPts val="0"/>
              </a:spcBef>
              <a:buSzTx/>
              <a:buFontTx/>
              <a:buNone/>
              <a:defRPr sz="1700">
                <a:solidFill>
                  <a:schemeClr val="tx2">
                    <a:lumMod val="50000"/>
                  </a:schemeClr>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dirty="0"/>
              <a:t>Klik for at tilføje tekst</a:t>
            </a:r>
          </a:p>
        </p:txBody>
      </p:sp>
      <p:sp>
        <p:nvSpPr>
          <p:cNvPr id="7" name="Pladsholder til indhold 6"/>
          <p:cNvSpPr>
            <a:spLocks noGrp="1"/>
          </p:cNvSpPr>
          <p:nvPr>
            <p:ph sz="quarter" idx="15" hasCustomPrompt="1"/>
          </p:nvPr>
        </p:nvSpPr>
        <p:spPr>
          <a:xfrm>
            <a:off x="6040968" y="327026"/>
            <a:ext cx="5719233" cy="591026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p:cNvSpPr>
            <a:spLocks noGrp="1"/>
          </p:cNvSpPr>
          <p:nvPr>
            <p:ph type="title" hasCustomPrompt="1"/>
          </p:nvPr>
        </p:nvSpPr>
        <p:spPr>
          <a:xfrm>
            <a:off x="484212" y="329514"/>
            <a:ext cx="5442456" cy="1321486"/>
          </a:xfrm>
        </p:spPr>
        <p:txBody>
          <a:bodyPr/>
          <a:lstStyle>
            <a:lvl1pPr algn="l">
              <a:spcBef>
                <a:spcPts val="0"/>
              </a:spcBef>
              <a:defRPr/>
            </a:lvl1pPr>
          </a:lstStyle>
          <a:p>
            <a:pPr lvl="0"/>
            <a:r>
              <a:rPr lang="da-DK" dirty="0"/>
              <a:t>Klik for at tilføje tekst</a:t>
            </a:r>
          </a:p>
        </p:txBody>
      </p:sp>
      <p:pic>
        <p:nvPicPr>
          <p:cNvPr id="8"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2017099163"/>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llede med billedteks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509613" y="5784273"/>
            <a:ext cx="11223112" cy="407870"/>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Klik for at tilføje tekst</a:t>
            </a:r>
          </a:p>
        </p:txBody>
      </p:sp>
      <p:sp>
        <p:nvSpPr>
          <p:cNvPr id="3" name="Pladsholder til billede 2"/>
          <p:cNvSpPr>
            <a:spLocks noGrp="1"/>
          </p:cNvSpPr>
          <p:nvPr>
            <p:ph type="pic" sz="quarter" idx="11"/>
          </p:nvPr>
        </p:nvSpPr>
        <p:spPr>
          <a:xfrm>
            <a:off x="503767" y="349251"/>
            <a:ext cx="11228917" cy="4211205"/>
          </a:xfrm>
        </p:spPr>
        <p:txBody>
          <a:bodyPr/>
          <a:lstStyle/>
          <a:p>
            <a:r>
              <a:rPr lang="da-DK"/>
              <a:t>Klik på ikonet for at tilføje et billede</a:t>
            </a:r>
            <a:endParaRPr lang="da-DK" dirty="0"/>
          </a:p>
        </p:txBody>
      </p:sp>
      <p:sp>
        <p:nvSpPr>
          <p:cNvPr id="2" name="Titel 1"/>
          <p:cNvSpPr>
            <a:spLocks noGrp="1"/>
          </p:cNvSpPr>
          <p:nvPr>
            <p:ph type="title" hasCustomPrompt="1"/>
          </p:nvPr>
        </p:nvSpPr>
        <p:spPr>
          <a:xfrm>
            <a:off x="508001" y="4647515"/>
            <a:ext cx="11215711" cy="972000"/>
          </a:xfrm>
        </p:spPr>
        <p:txBody>
          <a:bodyPr>
            <a:normAutofit/>
          </a:bodyPr>
          <a:lstStyle>
            <a:lvl1pPr>
              <a:defRPr sz="4900"/>
            </a:lvl1pPr>
          </a:lstStyle>
          <a:p>
            <a:pPr lvl="0"/>
            <a:r>
              <a:rPr lang="da-DK" dirty="0"/>
              <a:t>Klik for at tilføje tekst</a:t>
            </a:r>
          </a:p>
        </p:txBody>
      </p:sp>
      <p:sp>
        <p:nvSpPr>
          <p:cNvPr id="6" name="Shape 2"/>
          <p:cNvSpPr/>
          <p:nvPr userDrawn="1"/>
        </p:nvSpPr>
        <p:spPr>
          <a:xfrm>
            <a:off x="476250" y="5692993"/>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8" name="Shape 3"/>
          <p:cNvSpPr/>
          <p:nvPr userDrawn="1"/>
        </p:nvSpPr>
        <p:spPr>
          <a:xfrm>
            <a:off x="476250" y="4647135"/>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pic>
        <p:nvPicPr>
          <p:cNvPr id="9"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99944233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19070"/>
            <a:ext cx="11229673" cy="972000"/>
          </a:xfrm>
        </p:spPr>
        <p:txBody>
          <a:bodyPr>
            <a:normAutofit/>
          </a:bodyPr>
          <a:lstStyle>
            <a:lvl1pPr>
              <a:spcBef>
                <a:spcPts val="0"/>
              </a:spcBef>
              <a:defRPr sz="4900"/>
            </a:lvl1pPr>
          </a:lstStyle>
          <a:p>
            <a:pPr lvl="0"/>
            <a:r>
              <a:rPr lang="da-DK" dirty="0"/>
              <a:t>Klik for at tilføje tekst</a:t>
            </a:r>
          </a:p>
        </p:txBody>
      </p:sp>
    </p:spTree>
    <p:extLst>
      <p:ext uri="{BB962C8B-B14F-4D97-AF65-F5344CB8AC3E}">
        <p14:creationId xmlns:p14="http://schemas.microsoft.com/office/powerpoint/2010/main" val="178091660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pic>
        <p:nvPicPr>
          <p:cNvPr id="3" name="ÆS_logo_POS_CMYK.pdf"/>
          <p:cNvPicPr/>
          <p:nvPr userDrawn="1"/>
        </p:nvPicPr>
        <p:blipFill>
          <a:blip r:embed="rId2"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187394902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er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610"/>
            <a:ext cx="11239500" cy="972021"/>
          </a:xfrm>
        </p:spPr>
        <p:txBody>
          <a:bodyPr vert="horz">
            <a:normAutofit/>
          </a:bodyPr>
          <a:lstStyle>
            <a:lvl1pPr>
              <a:defRPr sz="4900">
                <a:solidFill>
                  <a:schemeClr val="tx2"/>
                </a:solidFill>
              </a:defRPr>
            </a:lvl1pPr>
          </a:lstStyle>
          <a:p>
            <a:pPr lvl="0"/>
            <a:r>
              <a:rPr lang="da-DK" dirty="0"/>
              <a:t>Klik for at tilføje tekst</a:t>
            </a:r>
          </a:p>
        </p:txBody>
      </p:sp>
      <p:sp>
        <p:nvSpPr>
          <p:cNvPr id="3" name="Pladsholder til indhold 3"/>
          <p:cNvSpPr>
            <a:spLocks noGrp="1"/>
          </p:cNvSpPr>
          <p:nvPr>
            <p:ph sz="quarter" idx="14" hasCustomPrompt="1"/>
          </p:nvPr>
        </p:nvSpPr>
        <p:spPr>
          <a:xfrm>
            <a:off x="476251" y="1919883"/>
            <a:ext cx="11247460" cy="4286250"/>
          </a:xfrm>
        </p:spPr>
        <p:txBody>
          <a:bodyPr anchor="t"/>
          <a:lstStyle/>
          <a:p>
            <a:pPr lvl="0">
              <a:defRPr sz="1800">
                <a:solidFill>
                  <a:srgbClr val="000000"/>
                </a:solidFill>
              </a:defRPr>
            </a:pPr>
            <a:r>
              <a:rPr lang="da-DK" sz="2200" dirty="0">
                <a:solidFill>
                  <a:srgbClr val="414141"/>
                </a:solidFill>
              </a:rPr>
              <a:t>Brødtekst, niveau et</a:t>
            </a:r>
          </a:p>
          <a:p>
            <a:pPr lvl="1">
              <a:defRPr sz="1800">
                <a:solidFill>
                  <a:srgbClr val="000000"/>
                </a:solidFill>
              </a:defRPr>
            </a:pPr>
            <a:r>
              <a:rPr lang="da-DK" sz="2200" dirty="0">
                <a:solidFill>
                  <a:srgbClr val="414141"/>
                </a:solidFill>
              </a:rPr>
              <a:t>Brødtekst, niveau to</a:t>
            </a:r>
          </a:p>
          <a:p>
            <a:pPr lvl="2">
              <a:defRPr sz="1800">
                <a:solidFill>
                  <a:srgbClr val="000000"/>
                </a:solidFill>
              </a:defRPr>
            </a:pPr>
            <a:r>
              <a:rPr lang="da-DK" sz="2200" dirty="0">
                <a:solidFill>
                  <a:srgbClr val="414141"/>
                </a:solidFill>
              </a:rPr>
              <a:t>Brødtekst, niveau tre</a:t>
            </a:r>
          </a:p>
          <a:p>
            <a:pPr lvl="3">
              <a:defRPr sz="1800">
                <a:solidFill>
                  <a:srgbClr val="000000"/>
                </a:solidFill>
              </a:defRPr>
            </a:pPr>
            <a:r>
              <a:rPr lang="da-DK" sz="2200" dirty="0">
                <a:solidFill>
                  <a:srgbClr val="414141"/>
                </a:solidFill>
              </a:rPr>
              <a:t>Brødtekst, niveau fire</a:t>
            </a:r>
          </a:p>
          <a:p>
            <a:pPr lvl="4">
              <a:defRPr sz="1800">
                <a:solidFill>
                  <a:srgbClr val="000000"/>
                </a:solidFill>
              </a:defRPr>
            </a:pPr>
            <a:r>
              <a:rPr lang="da-DK" sz="2200" dirty="0">
                <a:solidFill>
                  <a:srgbClr val="414141"/>
                </a:solidFill>
              </a:rPr>
              <a:t>Brødtekst, niveau fem</a:t>
            </a:r>
          </a:p>
        </p:txBody>
      </p:sp>
      <p:sp>
        <p:nvSpPr>
          <p:cNvPr id="4" name="Pladsholder til tekst 2"/>
          <p:cNvSpPr>
            <a:spLocks noGrp="1"/>
          </p:cNvSpPr>
          <p:nvPr>
            <p:ph type="body" sz="quarter" idx="10" hasCustomPrompt="1"/>
          </p:nvPr>
        </p:nvSpPr>
        <p:spPr>
          <a:xfrm>
            <a:off x="484212" y="1418736"/>
            <a:ext cx="11223112" cy="233983"/>
          </a:xfrm>
        </p:spPr>
        <p:txBody>
          <a:bodyPr vert="horz" wrap="none">
            <a:noAutofit/>
          </a:bodyPr>
          <a:lstStyle>
            <a:lvl1pPr marL="0" indent="0" algn="ctr">
              <a:lnSpc>
                <a:spcPct val="100000"/>
              </a:lnSpc>
              <a:spcBef>
                <a:spcPts val="0"/>
              </a:spcBef>
              <a:buFontTx/>
              <a:buNone/>
              <a:defRPr sz="1700" b="1" i="0" cap="all">
                <a:solidFill>
                  <a:schemeClr val="bg2"/>
                </a:solidFill>
                <a:latin typeface="Arial"/>
                <a:cs typeface="Arial"/>
              </a:defRPr>
            </a:lvl1pPr>
          </a:lstStyle>
          <a:p>
            <a:pPr lvl="0"/>
            <a:r>
              <a:rPr lang="da-DK" dirty="0"/>
              <a:t>Rediger typografien i masteren</a:t>
            </a:r>
          </a:p>
        </p:txBody>
      </p:sp>
      <p:sp>
        <p:nvSpPr>
          <p:cNvPr id="5" name="Pladsholder til diasnummer 4"/>
          <p:cNvSpPr>
            <a:spLocks noGrp="1"/>
          </p:cNvSpPr>
          <p:nvPr>
            <p:ph type="sldNum" sz="quarter" idx="15"/>
          </p:nvPr>
        </p:nvSpPr>
        <p:spPr/>
        <p:txBody>
          <a:bodyPr/>
          <a:lstStyle/>
          <a:p>
            <a:fld id="{53638CB2-EA0C-44E4-A91A-4D7146E346C5}" type="slidenum">
              <a:rPr lang="da-DK" smtClean="0"/>
              <a:pPr/>
              <a:t>‹nr.›</a:t>
            </a:fld>
            <a:endParaRPr lang="da-DK"/>
          </a:p>
        </p:txBody>
      </p:sp>
    </p:spTree>
    <p:extLst>
      <p:ext uri="{BB962C8B-B14F-4D97-AF65-F5344CB8AC3E}">
        <p14:creationId xmlns:p14="http://schemas.microsoft.com/office/powerpoint/2010/main" val="382711768"/>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791466"/>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1301D3-04DC-4A4E-90C8-3CB48595D051}"/>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4A917068-E6F4-E543-AA2C-B9F0CA1291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6C76B172-674E-AD40-A3E3-8193DBEDDD28}"/>
              </a:ext>
            </a:extLst>
          </p:cNvPr>
          <p:cNvSpPr>
            <a:spLocks noGrp="1"/>
          </p:cNvSpPr>
          <p:nvPr>
            <p:ph type="dt" sz="half" idx="10"/>
          </p:nvPr>
        </p:nvSpPr>
        <p:spPr/>
        <p:txBody>
          <a:bodyPr/>
          <a:lstStyle/>
          <a:p>
            <a:fld id="{9146DC6F-2D95-EC40-9F64-678C69858A9F}" type="datetimeFigureOut">
              <a:rPr lang="da-DK" smtClean="0"/>
              <a:pPr/>
              <a:t>14-01-2024</a:t>
            </a:fld>
            <a:endParaRPr lang="da-DK"/>
          </a:p>
        </p:txBody>
      </p:sp>
      <p:sp>
        <p:nvSpPr>
          <p:cNvPr id="5" name="Pladsholder til sidefod 4">
            <a:extLst>
              <a:ext uri="{FF2B5EF4-FFF2-40B4-BE49-F238E27FC236}">
                <a16:creationId xmlns:a16="http://schemas.microsoft.com/office/drawing/2014/main" id="{B1D88D30-41E5-3A40-A544-EEEB29428B0E}"/>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2F867EC-6B52-0B49-987F-4B3D03A51530}"/>
              </a:ext>
            </a:extLst>
          </p:cNvPr>
          <p:cNvSpPr>
            <a:spLocks noGrp="1"/>
          </p:cNvSpPr>
          <p:nvPr>
            <p:ph type="sldNum" sz="quarter" idx="12"/>
          </p:nvPr>
        </p:nvSpPr>
        <p:spPr/>
        <p:txBody>
          <a:bodyPr/>
          <a:lstStyle/>
          <a:p>
            <a:fld id="{656B6B3A-DF02-B047-8925-DDA2296DC5D6}" type="slidenum">
              <a:rPr lang="da-DK" smtClean="0"/>
              <a:pPr/>
              <a:t>‹nr.›</a:t>
            </a:fld>
            <a:endParaRPr lang="da-DK"/>
          </a:p>
        </p:txBody>
      </p:sp>
    </p:spTree>
    <p:extLst>
      <p:ext uri="{BB962C8B-B14F-4D97-AF65-F5344CB8AC3E}">
        <p14:creationId xmlns:p14="http://schemas.microsoft.com/office/powerpoint/2010/main" val="21337299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Åbningsdias - centreret">
    <p:bg>
      <p:bgPr>
        <a:solidFill>
          <a:schemeClr val="tx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2AD557C8-5E5A-F943-984D-85EAA58DCB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4211" y="2718822"/>
            <a:ext cx="8103577" cy="1420356"/>
          </a:xfrm>
          <a:prstGeom prst="rect">
            <a:avLst/>
          </a:prstGeom>
        </p:spPr>
      </p:pic>
      <p:pic>
        <p:nvPicPr>
          <p:cNvPr id="3" name="Billede 2">
            <a:extLst>
              <a:ext uri="{FF2B5EF4-FFF2-40B4-BE49-F238E27FC236}">
                <a16:creationId xmlns:a16="http://schemas.microsoft.com/office/drawing/2014/main" id="{841D2C91-E1EB-1543-B313-2761B81B0C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4211" y="2718822"/>
            <a:ext cx="8103577" cy="1420356"/>
          </a:xfrm>
          <a:prstGeom prst="rect">
            <a:avLst/>
          </a:prstGeom>
        </p:spPr>
      </p:pic>
    </p:spTree>
    <p:extLst>
      <p:ext uri="{BB962C8B-B14F-4D97-AF65-F5344CB8AC3E}">
        <p14:creationId xmlns:p14="http://schemas.microsoft.com/office/powerpoint/2010/main" val="1162667693"/>
      </p:ext>
    </p:extLst>
  </p:cSld>
  <p:clrMapOvr>
    <a:overrideClrMapping bg1="lt1" tx1="dk1" bg2="lt2" tx2="dk2" accent1="accent1" accent2="accent2" accent3="accent3" accent4="accent4" accent5="accent5" accent6="accent6" hlink="hlink" folHlink="folHlink"/>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showMasterPhAnim="0" preserve="1">
  <p:cSld name="Titel &amp; undertitel i bånd centreret">
    <p:spTree>
      <p:nvGrpSpPr>
        <p:cNvPr id="1" name=""/>
        <p:cNvGrpSpPr/>
        <p:nvPr/>
      </p:nvGrpSpPr>
      <p:grpSpPr>
        <a:xfrm>
          <a:off x="0" y="0"/>
          <a:ext cx="0" cy="0"/>
          <a:chOff x="0" y="0"/>
          <a:chExt cx="0" cy="0"/>
        </a:xfrm>
      </p:grpSpPr>
      <p:sp>
        <p:nvSpPr>
          <p:cNvPr id="3" name="Pladsholder til tekst 2"/>
          <p:cNvSpPr>
            <a:spLocks noGrp="1"/>
          </p:cNvSpPr>
          <p:nvPr>
            <p:ph type="body" sz="quarter" idx="10" hasCustomPrompt="1"/>
          </p:nvPr>
        </p:nvSpPr>
        <p:spPr>
          <a:xfrm>
            <a:off x="530586" y="2212910"/>
            <a:ext cx="11183692" cy="261610"/>
          </a:xfrm>
        </p:spPr>
        <p:txBody>
          <a:bodyPr vert="horz" anchor="b" anchorCtr="0">
            <a:spAutoFit/>
          </a:bodyPr>
          <a:lstStyle>
            <a:lvl1pPr marL="0" indent="0" algn="l">
              <a:lnSpc>
                <a:spcPct val="100000"/>
              </a:lnSpc>
              <a:spcBef>
                <a:spcPts val="0"/>
              </a:spcBef>
              <a:buFontTx/>
              <a:buNone/>
              <a:defRPr sz="1700" b="1" i="0" cap="all" baseline="0">
                <a:solidFill>
                  <a:schemeClr val="accent1"/>
                </a:solidFill>
                <a:latin typeface="Arial"/>
                <a:cs typeface="Arial"/>
              </a:defRPr>
            </a:lvl1pPr>
          </a:lstStyle>
          <a:p>
            <a:pPr lvl="0"/>
            <a:r>
              <a:rPr lang="da-DK"/>
              <a:t>Klik for at tilføje tekst</a:t>
            </a:r>
          </a:p>
        </p:txBody>
      </p:sp>
      <p:sp>
        <p:nvSpPr>
          <p:cNvPr id="9" name="Shape 9"/>
          <p:cNvSpPr/>
          <p:nvPr/>
        </p:nvSpPr>
        <p:spPr>
          <a:xfrm rot="16200000">
            <a:off x="6917128" y="3441526"/>
            <a:ext cx="1155065"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10" name="Shape 10"/>
          <p:cNvSpPr>
            <a:spLocks noGrp="1"/>
          </p:cNvSpPr>
          <p:nvPr>
            <p:ph type="title" hasCustomPrompt="1"/>
          </p:nvPr>
        </p:nvSpPr>
        <p:spPr>
          <a:xfrm>
            <a:off x="476250" y="2560596"/>
            <a:ext cx="6750844" cy="1711223"/>
          </a:xfrm>
          <a:prstGeom prst="rect">
            <a:avLst/>
          </a:prstGeom>
        </p:spPr>
        <p:txBody>
          <a:bodyPr>
            <a:noAutofit/>
          </a:bodyPr>
          <a:lstStyle>
            <a:lvl1pPr algn="l">
              <a:spcBef>
                <a:spcPts val="0"/>
              </a:spcBef>
              <a:defRPr sz="5400">
                <a:solidFill>
                  <a:schemeClr val="tx2"/>
                </a:solidFill>
              </a:defRPr>
            </a:lvl1pPr>
          </a:lstStyle>
          <a:p>
            <a:pPr lvl="0">
              <a:defRPr sz="1800">
                <a:solidFill>
                  <a:srgbClr val="000000"/>
                </a:solidFill>
              </a:defRPr>
            </a:pPr>
            <a:r>
              <a:rPr lang="da-DK" sz="4900">
                <a:solidFill>
                  <a:srgbClr val="B3242A"/>
                </a:solidFill>
              </a:rPr>
              <a:t>Klik for at tilføje tekst</a:t>
            </a:r>
          </a:p>
        </p:txBody>
      </p:sp>
      <p:sp>
        <p:nvSpPr>
          <p:cNvPr id="11" name="Shape 11"/>
          <p:cNvSpPr>
            <a:spLocks noGrp="1"/>
          </p:cNvSpPr>
          <p:nvPr>
            <p:ph type="body" idx="1" hasCustomPrompt="1"/>
          </p:nvPr>
        </p:nvSpPr>
        <p:spPr>
          <a:xfrm>
            <a:off x="7762875" y="2592549"/>
            <a:ext cx="3976688" cy="1696641"/>
          </a:xfrm>
          <a:prstGeom prst="rect">
            <a:avLst/>
          </a:prstGeom>
        </p:spPr>
        <p:txBody>
          <a:bodyPr/>
          <a:lstStyle>
            <a:lvl1pPr marL="0" indent="0" algn="l">
              <a:lnSpc>
                <a:spcPts val="2039"/>
              </a:lnSpc>
              <a:spcBef>
                <a:spcPts val="0"/>
              </a:spcBef>
              <a:buSzTx/>
              <a:buNone/>
              <a:defRPr sz="1700">
                <a:solidFill>
                  <a:schemeClr val="tx2"/>
                </a:solidFill>
              </a:defRPr>
            </a:lvl1pPr>
            <a:lvl2pPr marL="0" indent="160729">
              <a:lnSpc>
                <a:spcPct val="120000"/>
              </a:lnSpc>
              <a:spcBef>
                <a:spcPts val="0"/>
              </a:spcBef>
              <a:buSzTx/>
              <a:buNone/>
              <a:defRPr sz="1700">
                <a:solidFill>
                  <a:schemeClr val="tx2">
                    <a:lumMod val="50000"/>
                  </a:schemeClr>
                </a:solidFill>
              </a:defRPr>
            </a:lvl2pPr>
            <a:lvl3pPr marL="0" indent="321457">
              <a:lnSpc>
                <a:spcPct val="120000"/>
              </a:lnSpc>
              <a:spcBef>
                <a:spcPts val="0"/>
              </a:spcBef>
              <a:buSzTx/>
              <a:buNone/>
              <a:defRPr sz="1700">
                <a:solidFill>
                  <a:schemeClr val="tx2">
                    <a:lumMod val="50000"/>
                  </a:schemeClr>
                </a:solidFill>
              </a:defRPr>
            </a:lvl3pPr>
            <a:lvl4pPr marL="0" indent="482186">
              <a:lnSpc>
                <a:spcPct val="120000"/>
              </a:lnSpc>
              <a:spcBef>
                <a:spcPts val="0"/>
              </a:spcBef>
              <a:buSzTx/>
              <a:buNone/>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defRPr sz="1800">
                <a:solidFill>
                  <a:srgbClr val="000000"/>
                </a:solidFill>
              </a:defRPr>
            </a:pPr>
            <a:r>
              <a:rPr lang="da-DK" sz="1700">
                <a:solidFill>
                  <a:srgbClr val="414141"/>
                </a:solidFill>
              </a:rPr>
              <a:t>Klik for at tilføje tekst</a:t>
            </a:r>
          </a:p>
        </p:txBody>
      </p:sp>
      <p:sp>
        <p:nvSpPr>
          <p:cNvPr id="12" name="Shape 7"/>
          <p:cNvSpPr/>
          <p:nvPr/>
        </p:nvSpPr>
        <p:spPr>
          <a:xfrm>
            <a:off x="476251" y="4315973"/>
            <a:ext cx="1124948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17" name="Shape 8"/>
          <p:cNvSpPr/>
          <p:nvPr/>
        </p:nvSpPr>
        <p:spPr>
          <a:xfrm>
            <a:off x="476252" y="2556825"/>
            <a:ext cx="1125001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pic>
        <p:nvPicPr>
          <p:cNvPr id="14" name="ÆS_logo_POS_CMYK.pdf"/>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pic>
        <p:nvPicPr>
          <p:cNvPr id="13" name="ÆS_logo_POS_CMYK.pdf">
            <a:extLst>
              <a:ext uri="{FF2B5EF4-FFF2-40B4-BE49-F238E27FC236}">
                <a16:creationId xmlns:a16="http://schemas.microsoft.com/office/drawing/2014/main" id="{6232A95A-F8AF-3D4A-AF2D-C4F545342C79}"/>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190138795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PhAnim="0"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0" y="225933"/>
            <a:ext cx="11229673" cy="972000"/>
          </a:xfrm>
        </p:spPr>
        <p:txBody>
          <a:bodyPr>
            <a:normAutofit/>
          </a:bodyPr>
          <a:lstStyle>
            <a:lvl1pPr>
              <a:defRPr sz="3600">
                <a:solidFill>
                  <a:schemeClr val="tx2"/>
                </a:solidFill>
              </a:defRPr>
            </a:lvl1pPr>
          </a:lstStyle>
          <a:p>
            <a:r>
              <a:rPr lang="da-DK" dirty="0"/>
              <a:t>Klik for at tilføje tekst</a:t>
            </a:r>
          </a:p>
        </p:txBody>
      </p:sp>
      <p:sp>
        <p:nvSpPr>
          <p:cNvPr id="4" name="Pladsholder til indhold 3"/>
          <p:cNvSpPr>
            <a:spLocks noGrp="1"/>
          </p:cNvSpPr>
          <p:nvPr>
            <p:ph sz="quarter" idx="10" hasCustomPrompt="1"/>
          </p:nvPr>
        </p:nvSpPr>
        <p:spPr>
          <a:xfrm>
            <a:off x="1016000" y="1516530"/>
            <a:ext cx="10707843" cy="4706471"/>
          </a:xfrm>
        </p:spPr>
        <p:txBody>
          <a:bodyPr vert="horz"/>
          <a:lstStyle>
            <a:lvl1pPr>
              <a:defRPr baseline="0"/>
            </a:lvl1pPr>
          </a:lstStyle>
          <a:p>
            <a:pPr lvl="0"/>
            <a:r>
              <a:rPr lang="da-DK"/>
              <a:t>Klik at tilføje tekst</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400631833"/>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PhAnim="0" preserve="1">
  <p:cSld name="Titel, undertitel og indholdsobjekt">
    <p:spTree>
      <p:nvGrpSpPr>
        <p:cNvPr id="1" name=""/>
        <p:cNvGrpSpPr/>
        <p:nvPr/>
      </p:nvGrpSpPr>
      <p:grpSpPr>
        <a:xfrm>
          <a:off x="0" y="0"/>
          <a:ext cx="0" cy="0"/>
          <a:chOff x="0" y="0"/>
          <a:chExt cx="0" cy="0"/>
        </a:xfrm>
      </p:grpSpPr>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accent1"/>
                </a:solidFill>
                <a:latin typeface="Arial"/>
                <a:cs typeface="Arial"/>
              </a:defRPr>
            </a:lvl1pPr>
          </a:lstStyle>
          <a:p>
            <a:pPr lvl="0"/>
            <a:r>
              <a:rPr lang="da-DK"/>
              <a:t>Klik for at tilføje tekst</a:t>
            </a:r>
          </a:p>
        </p:txBody>
      </p:sp>
      <p:sp>
        <p:nvSpPr>
          <p:cNvPr id="3" name="Pladsholder til indhold 2"/>
          <p:cNvSpPr>
            <a:spLocks noGrp="1"/>
          </p:cNvSpPr>
          <p:nvPr>
            <p:ph sz="quarter" idx="12" hasCustomPrompt="1"/>
          </p:nvPr>
        </p:nvSpPr>
        <p:spPr>
          <a:xfrm>
            <a:off x="1016001" y="1875119"/>
            <a:ext cx="10708217" cy="4340411"/>
          </a:xfrm>
        </p:spPr>
        <p:txBody>
          <a:bodyPr vert="horz"/>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2" name="Titel 1"/>
          <p:cNvSpPr>
            <a:spLocks noGrp="1"/>
          </p:cNvSpPr>
          <p:nvPr>
            <p:ph type="title" hasCustomPrompt="1"/>
          </p:nvPr>
        </p:nvSpPr>
        <p:spPr>
          <a:ln w="12700">
            <a:miter lim="400000"/>
          </a:ln>
        </p:spPr>
        <p:txBody>
          <a:bodyPr vert="horz" lIns="0" tIns="36000" rIns="0" bIns="0" anchor="ctr">
            <a:noAutofit/>
          </a:bodyPr>
          <a:lstStyle>
            <a:lvl1pPr>
              <a:defRPr lang="da-DK" sz="3600"/>
            </a:lvl1pPr>
          </a:lstStyle>
          <a:p>
            <a:pPr lvl="0">
              <a:lnSpc>
                <a:spcPct val="90000"/>
              </a:lnSpc>
              <a:spcBef>
                <a:spcPts val="10"/>
              </a:spcBef>
            </a:pPr>
            <a:r>
              <a:rPr lang="da-DK"/>
              <a:t>Klik for at tilføje tekst</a:t>
            </a:r>
          </a:p>
        </p:txBody>
      </p:sp>
    </p:spTree>
    <p:extLst>
      <p:ext uri="{BB962C8B-B14F-4D97-AF65-F5344CB8AC3E}">
        <p14:creationId xmlns:p14="http://schemas.microsoft.com/office/powerpoint/2010/main" val="4258971620"/>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PhAnim="0" preserve="1">
  <p:cSld name="To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ormAutofit/>
          </a:bodyPr>
          <a:lstStyle>
            <a:lvl1pPr marL="342900" marR="0" indent="-342900" algn="l" defTabSz="410751" eaLnBrk="1" fontAlgn="auto" latinLnBrk="0" hangingPunct="1">
              <a:lnSpc>
                <a:spcPct val="100000"/>
              </a:lnSpc>
              <a:spcBef>
                <a:spcPts val="1000"/>
              </a:spcBef>
              <a:spcAft>
                <a:spcPts val="0"/>
              </a:spcAft>
              <a:buClrTx/>
              <a:buSzPct val="75000"/>
              <a:buFont typeface="Arial" panose="020B0604020202020204" pitchFamily="34" charset="0"/>
              <a:buChar char="•"/>
              <a:tabLst/>
              <a:defRPr lang="da-DK" sz="2200" b="0" i="0">
                <a:solidFill>
                  <a:schemeClr val="tx2"/>
                </a:solidFill>
                <a:latin typeface="+mn-lt"/>
                <a:ea typeface="Georgia"/>
                <a:cs typeface="Arial"/>
                <a:sym typeface="Georgia"/>
              </a:defRPr>
            </a:lvl1pPr>
            <a:lvl2pPr marL="482400" indent="-241200">
              <a:spcBef>
                <a:spcPts val="1000"/>
              </a:spcBef>
              <a:defRPr lang="da-DK" sz="2100" b="0" i="0" dirty="0" smtClean="0">
                <a:solidFill>
                  <a:schemeClr val="tx2"/>
                </a:solidFill>
                <a:latin typeface="+mn-lt"/>
                <a:ea typeface="Georgia"/>
                <a:cs typeface="Arial"/>
                <a:sym typeface="Georgia"/>
              </a:defRPr>
            </a:lvl2pPr>
            <a:lvl3pPr marL="321457" indent="-321457">
              <a:spcBef>
                <a:spcPts val="1266"/>
              </a:spcBef>
              <a:defRPr lang="da-DK" sz="2100" b="0" i="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2"/>
                </a:solidFill>
                <a:latin typeface="+mn-lt"/>
                <a:ea typeface="Georgia"/>
                <a:cs typeface="Arial"/>
                <a:sym typeface="Georgia"/>
              </a:defRPr>
            </a:lvl4pPr>
            <a:lvl5pPr>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9" name="Pladsholder til indhold 5"/>
          <p:cNvSpPr>
            <a:spLocks noGrp="1"/>
          </p:cNvSpPr>
          <p:nvPr>
            <p:ph sz="quarter" idx="14" hasCustomPrompt="1"/>
          </p:nvPr>
        </p:nvSpPr>
        <p:spPr>
          <a:xfrm>
            <a:off x="476251" y="1919883"/>
            <a:ext cx="5459763" cy="4286250"/>
          </a:xfrm>
        </p:spPr>
        <p:txBody>
          <a:bodyPr vert="horz">
            <a:normAutofit/>
          </a:bodyPr>
          <a:lstStyle>
            <a:lvl1pPr marL="241200" indent="-241200" algn="l" defTabSz="410751" eaLnBrk="1" hangingPunct="1">
              <a:lnSpc>
                <a:spcPct val="100000"/>
              </a:lnSpc>
              <a:spcBef>
                <a:spcPts val="1000"/>
              </a:spcBef>
              <a:buSzPct val="75000"/>
              <a:buFont typeface="Arial"/>
              <a:buChar char="•"/>
              <a:defRPr sz="2200">
                <a:solidFill>
                  <a:schemeClr val="tx1">
                    <a:lumMod val="75000"/>
                    <a:lumOff val="25000"/>
                  </a:schemeClr>
                </a:solidFill>
              </a:defRPr>
            </a:lvl1pPr>
            <a:lvl2pPr marL="482400" indent="-241200">
              <a:lnSpc>
                <a:spcPct val="100000"/>
              </a:lnSpc>
              <a:spcBef>
                <a:spcPts val="1000"/>
              </a:spcBef>
              <a:buFont typeface="Arial"/>
              <a:buChar char="•"/>
              <a:defRPr sz="2200">
                <a:solidFill>
                  <a:schemeClr val="tx1">
                    <a:lumMod val="75000"/>
                    <a:lumOff val="25000"/>
                  </a:schemeClr>
                </a:solidFill>
              </a:defRPr>
            </a:lvl2pPr>
            <a:lvl3pPr marL="241200" indent="-241200">
              <a:lnSpc>
                <a:spcPct val="100000"/>
              </a:lnSpc>
              <a:spcBef>
                <a:spcPts val="1000"/>
              </a:spcBef>
              <a:defRPr sz="2200">
                <a:solidFill>
                  <a:schemeClr val="tx1">
                    <a:lumMod val="75000"/>
                    <a:lumOff val="25000"/>
                  </a:schemeClr>
                </a:solidFill>
              </a:defRPr>
            </a:lvl3pPr>
            <a:lvl4pPr marL="723600" indent="-240460" algn="l">
              <a:spcBef>
                <a:spcPts val="1000"/>
              </a:spcBef>
              <a:defRPr lang="da-DK" sz="2100" b="0" i="0" dirty="0" smtClean="0">
                <a:solidFill>
                  <a:schemeClr val="tx1">
                    <a:lumMod val="75000"/>
                    <a:lumOff val="25000"/>
                  </a:schemeClr>
                </a:solidFill>
                <a:latin typeface="+mn-lt"/>
                <a:ea typeface="Georgia"/>
                <a:cs typeface="Arial"/>
                <a:sym typeface="Georgia"/>
              </a:defRPr>
            </a:lvl4pPr>
            <a:lvl5pPr indent="-240460">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2" name="Titel 1"/>
          <p:cNvSpPr>
            <a:spLocks noGrp="1"/>
          </p:cNvSpPr>
          <p:nvPr>
            <p:ph type="title" hasCustomPrompt="1"/>
          </p:nvPr>
        </p:nvSpPr>
        <p:spPr>
          <a:xfrm>
            <a:off x="484210" y="234619"/>
            <a:ext cx="11229673" cy="972000"/>
          </a:xfrm>
          <a:ln w="12700">
            <a:miter lim="400000"/>
          </a:ln>
        </p:spPr>
        <p:txBody>
          <a:bodyPr vert="horz" lIns="0" tIns="0" rIns="0" bIns="0" anchor="ctr">
            <a:noAutofit/>
          </a:bodyPr>
          <a:lstStyle>
            <a:lvl1pPr>
              <a:defRPr lang="da-DK" sz="3600"/>
            </a:lvl1pPr>
          </a:lstStyle>
          <a:p>
            <a:pPr lvl="0">
              <a:spcBef>
                <a:spcPts val="0"/>
              </a:spcBef>
            </a:pPr>
            <a:r>
              <a:rPr lang="da-DK"/>
              <a:t>Klik for at tilføje tekst</a:t>
            </a:r>
          </a:p>
        </p:txBody>
      </p:sp>
    </p:spTree>
    <p:extLst>
      <p:ext uri="{BB962C8B-B14F-4D97-AF65-F5344CB8AC3E}">
        <p14:creationId xmlns:p14="http://schemas.microsoft.com/office/powerpoint/2010/main" val="834526871"/>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PhAnim="0" preserve="1">
  <p:cSld name="Titel, undertitel og 2 indholdsobjekter">
    <p:spTree>
      <p:nvGrpSpPr>
        <p:cNvPr id="1" name=""/>
        <p:cNvGrpSpPr/>
        <p:nvPr/>
      </p:nvGrpSpPr>
      <p:grpSpPr>
        <a:xfrm>
          <a:off x="0" y="0"/>
          <a:ext cx="0" cy="0"/>
          <a:chOff x="0" y="0"/>
          <a:chExt cx="0" cy="0"/>
        </a:xfrm>
      </p:grpSpPr>
      <p:sp>
        <p:nvSpPr>
          <p:cNvPr id="6" name="Pladsholder til indhold 5"/>
          <p:cNvSpPr>
            <a:spLocks noGrp="1"/>
          </p:cNvSpPr>
          <p:nvPr>
            <p:ph sz="quarter" idx="13" hasCustomPrompt="1"/>
          </p:nvPr>
        </p:nvSpPr>
        <p:spPr>
          <a:xfrm>
            <a:off x="6106099" y="1919883"/>
            <a:ext cx="5609651" cy="4286250"/>
          </a:xfrm>
        </p:spPr>
        <p:txBody>
          <a:bodyPr vert="horz">
            <a:normAutofit/>
          </a:bodyPr>
          <a:lstStyle>
            <a:lvl1pPr marL="241200" indent="-241200">
              <a:lnSpc>
                <a:spcPct val="100000"/>
              </a:lnSpc>
              <a:spcBef>
                <a:spcPts val="1000"/>
              </a:spcBef>
              <a:buFont typeface="Arial"/>
              <a:buChar char="•"/>
              <a:defRPr lang="da-DK" sz="2200" b="0" i="0" baseline="0" dirty="0" smtClean="0">
                <a:solidFill>
                  <a:schemeClr val="tx2"/>
                </a:solidFill>
                <a:latin typeface="+mn-lt"/>
                <a:ea typeface="Georgia"/>
                <a:cs typeface="Arial"/>
                <a:sym typeface="Georgia"/>
              </a:defRPr>
            </a:lvl1pPr>
            <a:lvl2pPr marL="482400" indent="-241200">
              <a:lnSpc>
                <a:spcPct val="100000"/>
              </a:lnSpc>
              <a:spcBef>
                <a:spcPts val="1000"/>
              </a:spcBef>
              <a:defRPr lang="da-DK" sz="2200" b="0" i="0" baseline="0" dirty="0" smtClean="0">
                <a:solidFill>
                  <a:schemeClr val="tx2"/>
                </a:solidFill>
                <a:latin typeface="+mn-lt"/>
                <a:ea typeface="Georgia"/>
                <a:cs typeface="Arial"/>
                <a:sym typeface="Georgia"/>
              </a:defRPr>
            </a:lvl2pPr>
            <a:lvl3pPr marL="321457" indent="-321457">
              <a:lnSpc>
                <a:spcPct val="100000"/>
              </a:lnSpc>
              <a:spcBef>
                <a:spcPts val="1000"/>
              </a:spcBef>
              <a:defRPr lang="da-DK" sz="2200" b="0" i="0" baseline="0" dirty="0" smtClean="0">
                <a:solidFill>
                  <a:schemeClr val="tx1">
                    <a:lumMod val="75000"/>
                    <a:lumOff val="25000"/>
                  </a:schemeClr>
                </a:solidFill>
                <a:latin typeface="+mn-lt"/>
                <a:ea typeface="Georgia"/>
                <a:cs typeface="Arial"/>
                <a:sym typeface="Georgia"/>
              </a:defRPr>
            </a:lvl3pPr>
            <a:lvl4pPr marL="723600" indent="-241200">
              <a:spcBef>
                <a:spcPts val="1000"/>
              </a:spcBef>
              <a:defRPr lang="da-DK" sz="2100" b="0" i="0" dirty="0" smtClean="0">
                <a:solidFill>
                  <a:schemeClr val="tx2"/>
                </a:solidFill>
                <a:latin typeface="+mn-lt"/>
                <a:ea typeface="Georgia"/>
                <a:cs typeface="Arial"/>
                <a:sym typeface="Georgia"/>
              </a:defRPr>
            </a:lvl4pPr>
            <a:lvl5pPr>
              <a:defRPr sz="2300"/>
            </a:lvl5pPr>
            <a:lvl6pPr>
              <a:defRPr sz="2400"/>
            </a:lvl6pPr>
            <a:lvl7pPr>
              <a:defRPr sz="2400"/>
            </a:lvl7pPr>
            <a:lvl8pPr>
              <a:defRPr sz="2400"/>
            </a:lvl8pPr>
            <a:lvl9pPr>
              <a:defRPr sz="2600"/>
            </a:lvl9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8" name="Pladsholder til indhold 5"/>
          <p:cNvSpPr>
            <a:spLocks noGrp="1"/>
          </p:cNvSpPr>
          <p:nvPr>
            <p:ph sz="quarter" idx="14" hasCustomPrompt="1"/>
          </p:nvPr>
        </p:nvSpPr>
        <p:spPr>
          <a:xfrm>
            <a:off x="476251" y="1919883"/>
            <a:ext cx="5459763" cy="4286250"/>
          </a:xfrm>
        </p:spPr>
        <p:txBody>
          <a:bodyPr vert="horz" anchor="ctr">
            <a:normAutofit/>
          </a:bodyPr>
          <a:lstStyle>
            <a:lvl1pPr marL="240460" indent="-241200" algn="l" defTabSz="410751" eaLnBrk="1" hangingPunct="1">
              <a:lnSpc>
                <a:spcPct val="100000"/>
              </a:lnSpc>
              <a:spcBef>
                <a:spcPts val="1000"/>
              </a:spcBef>
              <a:buSzPct val="75000"/>
              <a:buFont typeface="Arial"/>
              <a:buChar char="•"/>
              <a:defRPr sz="2200">
                <a:solidFill>
                  <a:schemeClr val="tx2"/>
                </a:solidFill>
              </a:defRPr>
            </a:lvl1pPr>
            <a:lvl2pPr marL="480920" indent="-241200" algn="l">
              <a:lnSpc>
                <a:spcPct val="100000"/>
              </a:lnSpc>
              <a:spcBef>
                <a:spcPts val="1000"/>
              </a:spcBef>
              <a:buFont typeface="Arial"/>
              <a:buChar char="•"/>
              <a:defRPr sz="2200">
                <a:solidFill>
                  <a:schemeClr val="tx2"/>
                </a:solidFill>
              </a:defRPr>
            </a:lvl2pPr>
            <a:lvl3pPr marL="80257" indent="0" algn="l">
              <a:lnSpc>
                <a:spcPct val="100000"/>
              </a:lnSpc>
              <a:spcBef>
                <a:spcPts val="1000"/>
              </a:spcBef>
              <a:buNone/>
              <a:defRPr sz="2200">
                <a:solidFill>
                  <a:schemeClr val="tx1">
                    <a:lumMod val="75000"/>
                    <a:lumOff val="25000"/>
                  </a:schemeClr>
                </a:solidFill>
              </a:defRPr>
            </a:lvl3pPr>
            <a:lvl4pPr marL="721381" indent="-241200" algn="l">
              <a:spcBef>
                <a:spcPts val="1000"/>
              </a:spcBef>
              <a:defRPr lang="da-DK" sz="2100" b="0" i="0" dirty="0" smtClean="0">
                <a:solidFill>
                  <a:schemeClr val="tx2"/>
                </a:solidFill>
                <a:latin typeface="+mn-lt"/>
                <a:ea typeface="Georgia"/>
                <a:cs typeface="Arial"/>
                <a:sym typeface="Georgia"/>
              </a:defRPr>
            </a:lvl4pPr>
            <a:lvl5pPr indent="-241200" algn="l">
              <a:spcBef>
                <a:spcPts val="1000"/>
              </a:spcBef>
              <a:defRPr sz="2100"/>
            </a:lvl5pPr>
          </a:lstStyle>
          <a:p>
            <a:pPr lvl="0"/>
            <a:r>
              <a:rPr lang="da-DK"/>
              <a:t>Klik for at tilføje tekst</a:t>
            </a:r>
          </a:p>
          <a:p>
            <a:pPr lvl="1">
              <a:defRPr sz="1800">
                <a:solidFill>
                  <a:srgbClr val="000000"/>
                </a:solidFill>
              </a:defRPr>
            </a:pPr>
            <a:r>
              <a:rPr lang="da-DK" sz="2200">
                <a:solidFill>
                  <a:srgbClr val="414141"/>
                </a:solidFill>
              </a:rPr>
              <a:t>Andet niveau</a:t>
            </a:r>
          </a:p>
          <a:p>
            <a:pPr lvl="3">
              <a:defRPr sz="1800">
                <a:solidFill>
                  <a:srgbClr val="000000"/>
                </a:solidFill>
              </a:defRPr>
            </a:pPr>
            <a:r>
              <a:rPr lang="da-DK" sz="2200">
                <a:solidFill>
                  <a:srgbClr val="414141"/>
                </a:solidFill>
              </a:rPr>
              <a:t>Tredje niveau</a:t>
            </a:r>
          </a:p>
        </p:txBody>
      </p:sp>
      <p:sp>
        <p:nvSpPr>
          <p:cNvPr id="5" name="Pladsholder til tekst 2"/>
          <p:cNvSpPr>
            <a:spLocks noGrp="1"/>
          </p:cNvSpPr>
          <p:nvPr>
            <p:ph type="body" sz="quarter" idx="10" hasCustomPrompt="1"/>
          </p:nvPr>
        </p:nvSpPr>
        <p:spPr>
          <a:xfrm>
            <a:off x="484212" y="1418668"/>
            <a:ext cx="11223112" cy="233983"/>
          </a:xfrm>
        </p:spPr>
        <p:txBody>
          <a:bodyPr vert="horz" wrap="none">
            <a:noAutofit/>
          </a:bodyPr>
          <a:lstStyle>
            <a:lvl1pPr marL="0" indent="0" algn="ctr">
              <a:lnSpc>
                <a:spcPct val="100000"/>
              </a:lnSpc>
              <a:spcBef>
                <a:spcPts val="0"/>
              </a:spcBef>
              <a:buFontTx/>
              <a:buNone/>
              <a:defRPr sz="1700" b="1" i="0" cap="all">
                <a:solidFill>
                  <a:schemeClr val="accent1"/>
                </a:solidFill>
                <a:latin typeface="Arial"/>
                <a:cs typeface="Arial"/>
              </a:defRPr>
            </a:lvl1pPr>
          </a:lstStyle>
          <a:p>
            <a:pPr lvl="0"/>
            <a:r>
              <a:rPr lang="da-DK"/>
              <a:t>Klik for at tilføje tekst</a:t>
            </a:r>
          </a:p>
        </p:txBody>
      </p:sp>
      <p:sp>
        <p:nvSpPr>
          <p:cNvPr id="2" name="Titel 1"/>
          <p:cNvSpPr>
            <a:spLocks noGrp="1"/>
          </p:cNvSpPr>
          <p:nvPr>
            <p:ph type="title" hasCustomPrompt="1"/>
          </p:nvPr>
        </p:nvSpPr>
        <p:spPr>
          <a:ln w="12700">
            <a:miter lim="400000"/>
          </a:ln>
        </p:spPr>
        <p:txBody>
          <a:bodyPr vert="horz" lIns="0" tIns="0" rIns="0" bIns="0" anchor="ctr">
            <a:noAutofit/>
          </a:bodyPr>
          <a:lstStyle>
            <a:lvl1pPr>
              <a:defRPr lang="da-DK" sz="3600"/>
            </a:lvl1pPr>
          </a:lstStyle>
          <a:p>
            <a:pPr lvl="0">
              <a:spcBef>
                <a:spcPts val="0"/>
              </a:spcBef>
            </a:pPr>
            <a:r>
              <a:rPr lang="da-DK"/>
              <a:t>Klik for at tilføje tekst</a:t>
            </a:r>
          </a:p>
        </p:txBody>
      </p:sp>
    </p:spTree>
    <p:extLst>
      <p:ext uri="{BB962C8B-B14F-4D97-AF65-F5344CB8AC3E}">
        <p14:creationId xmlns:p14="http://schemas.microsoft.com/office/powerpoint/2010/main" val="2778693589"/>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showMasterPhAnim="0" preserve="1">
  <p:cSld name="Tekst og indholdselement - lodret">
    <p:spTree>
      <p:nvGrpSpPr>
        <p:cNvPr id="1" name=""/>
        <p:cNvGrpSpPr/>
        <p:nvPr/>
      </p:nvGrpSpPr>
      <p:grpSpPr>
        <a:xfrm>
          <a:off x="0" y="0"/>
          <a:ext cx="0" cy="0"/>
          <a:chOff x="0" y="0"/>
          <a:chExt cx="0" cy="0"/>
        </a:xfrm>
      </p:grpSpPr>
      <p:sp>
        <p:nvSpPr>
          <p:cNvPr id="23" name="Shape 23"/>
          <p:cNvSpPr/>
          <p:nvPr/>
        </p:nvSpPr>
        <p:spPr>
          <a:xfrm>
            <a:off x="476251" y="3429000"/>
            <a:ext cx="5321600"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24" name="Shape 24"/>
          <p:cNvSpPr/>
          <p:nvPr/>
        </p:nvSpPr>
        <p:spPr>
          <a:xfrm>
            <a:off x="476249" y="1946672"/>
            <a:ext cx="5321547"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25" name="Shape 25"/>
          <p:cNvSpPr>
            <a:spLocks noGrp="1"/>
          </p:cNvSpPr>
          <p:nvPr>
            <p:ph type="title" hasCustomPrompt="1"/>
          </p:nvPr>
        </p:nvSpPr>
        <p:spPr>
          <a:xfrm>
            <a:off x="476251" y="1949623"/>
            <a:ext cx="5322093" cy="1427892"/>
          </a:xfrm>
          <a:prstGeom prst="rect">
            <a:avLst/>
          </a:prstGeom>
        </p:spPr>
        <p:txBody>
          <a:bodyPr>
            <a:noAutofit/>
          </a:bodyPr>
          <a:lstStyle>
            <a:lvl1pPr algn="l">
              <a:spcBef>
                <a:spcPts val="0"/>
              </a:spcBef>
              <a:defRPr sz="4200"/>
            </a:lvl1pPr>
          </a:lstStyle>
          <a:p>
            <a:pPr lvl="0"/>
            <a:r>
              <a:rPr lang="da-DK" sz="4000"/>
              <a:t>Klik for at tilføje tekst</a:t>
            </a:r>
          </a:p>
        </p:txBody>
      </p:sp>
      <p:sp>
        <p:nvSpPr>
          <p:cNvPr id="26" name="Shape 26"/>
          <p:cNvSpPr>
            <a:spLocks noGrp="1"/>
          </p:cNvSpPr>
          <p:nvPr>
            <p:ph type="body" idx="1" hasCustomPrompt="1"/>
          </p:nvPr>
        </p:nvSpPr>
        <p:spPr>
          <a:xfrm>
            <a:off x="476251" y="3536156"/>
            <a:ext cx="5322093" cy="2669688"/>
          </a:xfrm>
          <a:prstGeom prst="rect">
            <a:avLst/>
          </a:prstGeom>
        </p:spPr>
        <p:txBody>
          <a:bodyPr anchor="t"/>
          <a:lstStyle>
            <a:lvl1pPr marL="241200" indent="-241200">
              <a:lnSpc>
                <a:spcPct val="100000"/>
              </a:lnSpc>
              <a:spcBef>
                <a:spcPts val="1000"/>
              </a:spcBef>
              <a:buSzTx/>
              <a:buFont typeface="Arial"/>
              <a:buChar char="•"/>
              <a:defRPr sz="1700">
                <a:solidFill>
                  <a:schemeClr val="tx2"/>
                </a:solidFill>
              </a:defRPr>
            </a:lvl1pPr>
            <a:lvl2pPr marL="480920" indent="-241093">
              <a:lnSpc>
                <a:spcPct val="100000"/>
              </a:lnSpc>
              <a:spcBef>
                <a:spcPts val="1000"/>
              </a:spcBef>
              <a:buSzTx/>
              <a:buFont typeface="Arial"/>
              <a:buChar char="•"/>
              <a:defRPr sz="1700">
                <a:solidFill>
                  <a:schemeClr val="tx2"/>
                </a:solidFill>
              </a:defRPr>
            </a:lvl2pPr>
            <a:lvl3pPr marL="721381" indent="-241093">
              <a:lnSpc>
                <a:spcPct val="100000"/>
              </a:lnSpc>
              <a:spcBef>
                <a:spcPts val="1000"/>
              </a:spcBef>
              <a:buSzTx/>
              <a:buFont typeface="Arial"/>
              <a:buChar char="•"/>
              <a:defRPr sz="1700">
                <a:solidFill>
                  <a:schemeClr val="tx2"/>
                </a:solidFill>
              </a:defRPr>
            </a:lvl3pPr>
            <a:lvl4pPr marL="480920" indent="-241093" algn="l">
              <a:lnSpc>
                <a:spcPct val="120000"/>
              </a:lnSpc>
              <a:spcBef>
                <a:spcPts val="0"/>
              </a:spcBef>
              <a:buSzTx/>
              <a:buFont typeface="Arial"/>
              <a:buChar char="•"/>
              <a:defRPr sz="1700">
                <a:solidFill>
                  <a:schemeClr val="tx2">
                    <a:lumMod val="50000"/>
                  </a:schemeClr>
                </a:solidFill>
              </a:defRPr>
            </a:lvl4pPr>
            <a:lvl5pPr marL="0" indent="642915">
              <a:lnSpc>
                <a:spcPct val="120000"/>
              </a:lnSpc>
              <a:spcBef>
                <a:spcPts val="0"/>
              </a:spcBef>
              <a:buSzTx/>
              <a:buNone/>
              <a:defRPr sz="1700">
                <a:solidFill>
                  <a:schemeClr val="tx2">
                    <a:lumMod val="50000"/>
                  </a:schemeClr>
                </a:solidFill>
              </a:defRPr>
            </a:lvl5pPr>
          </a:lstStyle>
          <a:p>
            <a:pPr lvl="0"/>
            <a:r>
              <a:rPr lang="da-DK"/>
              <a:t>Klik for at tilføje tekst</a:t>
            </a:r>
          </a:p>
          <a:p>
            <a:pPr lvl="1">
              <a:defRPr sz="1800">
                <a:solidFill>
                  <a:srgbClr val="000000"/>
                </a:solidFill>
              </a:defRPr>
            </a:pPr>
            <a:r>
              <a:rPr lang="da-DK" sz="1700">
                <a:solidFill>
                  <a:srgbClr val="414141"/>
                </a:solidFill>
              </a:rPr>
              <a:t>Andet niveau</a:t>
            </a:r>
          </a:p>
          <a:p>
            <a:pPr lvl="2">
              <a:defRPr sz="1800">
                <a:solidFill>
                  <a:srgbClr val="000000"/>
                </a:solidFill>
              </a:defRPr>
            </a:pPr>
            <a:r>
              <a:rPr lang="da-DK" sz="1700">
                <a:solidFill>
                  <a:srgbClr val="414141"/>
                </a:solidFill>
              </a:rPr>
              <a:t>Tredje niveau</a:t>
            </a:r>
          </a:p>
        </p:txBody>
      </p:sp>
      <p:sp>
        <p:nvSpPr>
          <p:cNvPr id="9" name="Pladsholder til tekst 2"/>
          <p:cNvSpPr>
            <a:spLocks noGrp="1"/>
          </p:cNvSpPr>
          <p:nvPr>
            <p:ph type="body" sz="quarter" idx="12" hasCustomPrompt="1"/>
          </p:nvPr>
        </p:nvSpPr>
        <p:spPr>
          <a:xfrm>
            <a:off x="507861" y="1646702"/>
            <a:ext cx="5289936" cy="200055"/>
          </a:xfrm>
        </p:spPr>
        <p:txBody>
          <a:bodyPr vert="horz" wrap="square" anchor="b">
            <a:spAutoFit/>
          </a:bodyPr>
          <a:lstStyle>
            <a:lvl1pPr marL="0" indent="0" algn="l">
              <a:lnSpc>
                <a:spcPct val="100000"/>
              </a:lnSpc>
              <a:spcBef>
                <a:spcPts val="0"/>
              </a:spcBef>
              <a:buFontTx/>
              <a:buNone/>
              <a:defRPr sz="1300" b="1" i="0" cap="all">
                <a:solidFill>
                  <a:srgbClr val="908979"/>
                </a:solidFill>
                <a:latin typeface="Arial"/>
                <a:cs typeface="Arial"/>
              </a:defRPr>
            </a:lvl1pPr>
          </a:lstStyle>
          <a:p>
            <a:pPr lvl="0"/>
            <a:r>
              <a:rPr lang="da-DK"/>
              <a:t>Klik for at tilføje tekst</a:t>
            </a:r>
          </a:p>
        </p:txBody>
      </p:sp>
      <p:sp>
        <p:nvSpPr>
          <p:cNvPr id="3" name="Pladsholder til indhold 2"/>
          <p:cNvSpPr>
            <a:spLocks noGrp="1"/>
          </p:cNvSpPr>
          <p:nvPr>
            <p:ph sz="quarter" idx="13" hasCustomPrompt="1"/>
          </p:nvPr>
        </p:nvSpPr>
        <p:spPr>
          <a:xfrm>
            <a:off x="6096001" y="333375"/>
            <a:ext cx="5617633" cy="5881688"/>
          </a:xfrm>
        </p:spPr>
        <p:txBody>
          <a:bodyPr/>
          <a:lstStyle>
            <a:lvl1pPr algn="l">
              <a:defRPr/>
            </a:lvl1pPr>
            <a:lvl2pPr algn="l">
              <a:defRPr/>
            </a:lvl2pPr>
            <a:lvl3pPr algn="l">
              <a:defRPr/>
            </a:lvl3pPr>
            <a:lvl4pPr algn="l">
              <a:defRPr/>
            </a:lvl4pPr>
            <a:lvl5pPr algn="l">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pic>
        <p:nvPicPr>
          <p:cNvPr id="10" name="ÆS_logo_POS_CMYK.pdf"/>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pic>
        <p:nvPicPr>
          <p:cNvPr id="11" name="ÆS_logo_POS_CMYK.pdf">
            <a:extLst>
              <a:ext uri="{FF2B5EF4-FFF2-40B4-BE49-F238E27FC236}">
                <a16:creationId xmlns:a16="http://schemas.microsoft.com/office/drawing/2014/main" id="{79C350D5-648F-1449-BACF-5832D965E4B4}"/>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3320694303"/>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PhAnim="0" preserve="1">
  <p:cSld name="Titel og indholdsobjekt - bre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84211" y="226542"/>
            <a:ext cx="11239500" cy="972021"/>
          </a:xfrm>
          <a:ln w="12700">
            <a:miter lim="400000"/>
          </a:ln>
        </p:spPr>
        <p:txBody>
          <a:bodyPr vert="horz" lIns="0" tIns="0" rIns="0" bIns="0" anchor="ctr">
            <a:noAutofit/>
          </a:bodyPr>
          <a:lstStyle>
            <a:lvl1pPr>
              <a:defRPr lang="da-DK" sz="3600"/>
            </a:lvl1pPr>
          </a:lstStyle>
          <a:p>
            <a:pPr lvl="0">
              <a:spcBef>
                <a:spcPts val="0"/>
              </a:spcBef>
            </a:pPr>
            <a:r>
              <a:rPr lang="da-DK"/>
              <a:t>Klik for at tilføje tekst</a:t>
            </a:r>
          </a:p>
        </p:txBody>
      </p:sp>
      <p:sp>
        <p:nvSpPr>
          <p:cNvPr id="3" name="Pladsholder til indhold 3"/>
          <p:cNvSpPr>
            <a:spLocks noGrp="1"/>
          </p:cNvSpPr>
          <p:nvPr>
            <p:ph sz="quarter" idx="14" hasCustomPrompt="1"/>
          </p:nvPr>
        </p:nvSpPr>
        <p:spPr>
          <a:xfrm>
            <a:off x="476250" y="1919883"/>
            <a:ext cx="11247460" cy="4286250"/>
          </a:xfrm>
        </p:spPr>
        <p:txBody>
          <a:bodyPr/>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spTree>
    <p:extLst>
      <p:ext uri="{BB962C8B-B14F-4D97-AF65-F5344CB8AC3E}">
        <p14:creationId xmlns:p14="http://schemas.microsoft.com/office/powerpoint/2010/main" val="258625318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6"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theme" Target="../theme/theme4.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image" Target="../media/image1.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5.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image" Target="../media/image1.emf"/><Relationship Id="rId2" Type="http://schemas.openxmlformats.org/officeDocument/2006/relationships/slideLayout" Target="../slideLayouts/slideLayout78.xml"/><Relationship Id="rId16" Type="http://schemas.openxmlformats.org/officeDocument/2006/relationships/theme" Target="../theme/theme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2.emf"/><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oleObject" Target="../embeddings/oleObject1.bin"/><Relationship Id="rId2" Type="http://schemas.openxmlformats.org/officeDocument/2006/relationships/slideLayout" Target="../slideLayouts/slideLayout93.xml"/><Relationship Id="rId16" Type="http://schemas.openxmlformats.org/officeDocument/2006/relationships/tags" Target="../tags/tag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theme" Target="../theme/theme7.xml"/><Relationship Id="rId10" Type="http://schemas.openxmlformats.org/officeDocument/2006/relationships/slideLayout" Target="../slideLayouts/slideLayout101.xml"/><Relationship Id="rId19" Type="http://schemas.openxmlformats.org/officeDocument/2006/relationships/image" Target="../media/image1.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2"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3" name="Shape 3"/>
          <p:cNvSpPr/>
          <p:nvPr/>
        </p:nvSpPr>
        <p:spPr>
          <a:xfrm>
            <a:off x="476252"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91"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21"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
        <p:nvSpPr>
          <p:cNvPr id="6" name="Pladsholder til diasnummer 5"/>
          <p:cNvSpPr>
            <a:spLocks noGrp="1"/>
          </p:cNvSpPr>
          <p:nvPr>
            <p:ph type="sldNum" sz="quarter" idx="4"/>
          </p:nvPr>
        </p:nvSpPr>
        <p:spPr>
          <a:xfrm>
            <a:off x="402493" y="6346065"/>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638CB2-EA0C-44E4-A91A-4D7146E346C5}" type="slidenum">
              <a:rPr lang="da-DK" smtClean="0"/>
              <a:pPr/>
              <a:t>‹nr.›</a:t>
            </a:fld>
            <a:endParaRPr lang="da-DK"/>
          </a:p>
        </p:txBody>
      </p:sp>
    </p:spTree>
    <p:extLst>
      <p:ext uri="{BB962C8B-B14F-4D97-AF65-F5344CB8AC3E}">
        <p14:creationId xmlns:p14="http://schemas.microsoft.com/office/powerpoint/2010/main" val="20948626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0" r:id="rId15"/>
    <p:sldLayoutId id="2147483684" r:id="rId16"/>
    <p:sldLayoutId id="2147483688" r:id="rId17"/>
    <p:sldLayoutId id="2147483690" r:id="rId18"/>
    <p:sldLayoutId id="2147483841" r:id="rId19"/>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2"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3" name="Shape 3"/>
          <p:cNvSpPr/>
          <p:nvPr/>
        </p:nvSpPr>
        <p:spPr>
          <a:xfrm>
            <a:off x="476252"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91" y="1493490"/>
            <a:ext cx="10683177" cy="471235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16"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61870583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Clr>
          <a:schemeClr val="tx2"/>
        </a:buClr>
        <a:buSzPct val="100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Clr>
          <a:schemeClr val="tx2"/>
        </a:buClr>
        <a:buSzPct val="100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Clr>
          <a:schemeClr val="tx2"/>
        </a:buClr>
        <a:buSzPct val="100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Clr>
          <a:schemeClr val="tx2"/>
        </a:buClr>
        <a:buSzPct val="100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Clr>
          <a:schemeClr val="tx2"/>
        </a:buClr>
        <a:buSzPct val="100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2"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3" name="Shape 3"/>
          <p:cNvSpPr/>
          <p:nvPr/>
        </p:nvSpPr>
        <p:spPr>
          <a:xfrm>
            <a:off x="476252"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91"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16" cstate="print">
            <a:extLst>
              <a:ext uri="{28A0092B-C50C-407E-A947-70E740481C1C}">
                <a14:useLocalDpi xmlns:a14="http://schemas.microsoft.com/office/drawing/2010/main" val="0"/>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36412138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2"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3" name="Shape 3"/>
          <p:cNvSpPr/>
          <p:nvPr/>
        </p:nvSpPr>
        <p:spPr>
          <a:xfrm>
            <a:off x="476252"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defTabSz="321457">
              <a:defRPr sz="1200">
                <a:solidFill>
                  <a:srgbClr val="000000"/>
                </a:solidFill>
                <a:latin typeface="Helvetica"/>
                <a:ea typeface="Helvetica"/>
                <a:cs typeface="Helvetica"/>
                <a:sym typeface="Helvetica"/>
              </a:defRPr>
            </a:pPr>
            <a:endParaRPr sz="1200">
              <a:solidFill>
                <a:srgbClr val="000000"/>
              </a:solidFill>
              <a:latin typeface="Helvetica"/>
              <a:ea typeface="Helvetica"/>
              <a:cs typeface="Helvetica"/>
              <a:sym typeface="Helvetica"/>
            </a:endParaRPr>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91" y="1493490"/>
            <a:ext cx="10683177" cy="471235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17" cstate="screen">
            <a:extLst>
              <a:ext uri="{28A0092B-C50C-407E-A947-70E740481C1C}">
                <a14:useLocalDpi xmlns:a14="http://schemas.microsoft.com/office/drawing/2010/main"/>
              </a:ext>
            </a:extLst>
          </a:blip>
          <a:stretch>
            <a:fillRect/>
          </a:stretch>
        </p:blipFill>
        <p:spPr>
          <a:xfrm>
            <a:off x="10369775" y="6426209"/>
            <a:ext cx="1356844" cy="233263"/>
          </a:xfrm>
          <a:prstGeom prst="rect">
            <a:avLst/>
          </a:prstGeom>
          <a:ln w="12700">
            <a:miter lim="400000"/>
          </a:ln>
        </p:spPr>
      </p:pic>
    </p:spTree>
    <p:extLst>
      <p:ext uri="{BB962C8B-B14F-4D97-AF65-F5344CB8AC3E}">
        <p14:creationId xmlns:p14="http://schemas.microsoft.com/office/powerpoint/2010/main" val="306024011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0"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3" name="Shape 3"/>
          <p:cNvSpPr/>
          <p:nvPr/>
        </p:nvSpPr>
        <p:spPr>
          <a:xfrm>
            <a:off x="476250"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73"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16"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
        <p:nvSpPr>
          <p:cNvPr id="6" name="Pladsholder til diasnummer 5"/>
          <p:cNvSpPr>
            <a:spLocks noGrp="1"/>
          </p:cNvSpPr>
          <p:nvPr>
            <p:ph type="sldNum" sz="quarter" idx="4"/>
          </p:nvPr>
        </p:nvSpPr>
        <p:spPr>
          <a:xfrm>
            <a:off x="402493" y="634599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638CB2-EA0C-44E4-A91A-4D7146E346C5}" type="slidenum">
              <a:rPr lang="da-DK" smtClean="0"/>
              <a:pPr/>
              <a:t>‹nr.›</a:t>
            </a:fld>
            <a:endParaRPr lang="da-DK"/>
          </a:p>
        </p:txBody>
      </p:sp>
    </p:spTree>
    <p:extLst>
      <p:ext uri="{BB962C8B-B14F-4D97-AF65-F5344CB8AC3E}">
        <p14:creationId xmlns:p14="http://schemas.microsoft.com/office/powerpoint/2010/main" val="653113339"/>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hape 2"/>
          <p:cNvSpPr/>
          <p:nvPr/>
        </p:nvSpPr>
        <p:spPr>
          <a:xfrm>
            <a:off x="476250"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3" name="Shape 3"/>
          <p:cNvSpPr/>
          <p:nvPr/>
        </p:nvSpPr>
        <p:spPr>
          <a:xfrm>
            <a:off x="476250"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sz="1200"/>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4900" dirty="0">
                <a:solidFill>
                  <a:srgbClr val="B3242A"/>
                </a:solidFill>
              </a:rPr>
              <a:t>Titeltekst</a:t>
            </a:r>
            <a:endParaRPr sz="4900" dirty="0">
              <a:solidFill>
                <a:srgbClr val="B3242A"/>
              </a:solidFill>
            </a:endParaRPr>
          </a:p>
        </p:txBody>
      </p:sp>
      <p:sp>
        <p:nvSpPr>
          <p:cNvPr id="5" name="Shape 5"/>
          <p:cNvSpPr>
            <a:spLocks noGrp="1"/>
          </p:cNvSpPr>
          <p:nvPr>
            <p:ph type="body" idx="1"/>
          </p:nvPr>
        </p:nvSpPr>
        <p:spPr>
          <a:xfrm>
            <a:off x="1032573"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sz="2200" dirty="0">
                <a:solidFill>
                  <a:srgbClr val="414141"/>
                </a:solidFill>
              </a:rPr>
              <a:t>Brødtekst, niveau et</a:t>
            </a:r>
          </a:p>
          <a:p>
            <a:pPr lvl="1">
              <a:defRPr sz="1800">
                <a:solidFill>
                  <a:srgbClr val="000000"/>
                </a:solidFill>
              </a:defRPr>
            </a:pPr>
            <a:r>
              <a:rPr sz="2200" dirty="0">
                <a:solidFill>
                  <a:srgbClr val="414141"/>
                </a:solidFill>
              </a:rPr>
              <a:t>Brødtekst, niveau to</a:t>
            </a:r>
          </a:p>
          <a:p>
            <a:pPr lvl="2">
              <a:defRPr sz="1800">
                <a:solidFill>
                  <a:srgbClr val="000000"/>
                </a:solidFill>
              </a:defRPr>
            </a:pPr>
            <a:r>
              <a:rPr sz="2200" dirty="0">
                <a:solidFill>
                  <a:srgbClr val="414141"/>
                </a:solidFill>
              </a:rPr>
              <a:t>Brødtekst, niveau tre</a:t>
            </a:r>
          </a:p>
          <a:p>
            <a:pPr lvl="3">
              <a:defRPr sz="1800">
                <a:solidFill>
                  <a:srgbClr val="000000"/>
                </a:solidFill>
              </a:defRPr>
            </a:pPr>
            <a:r>
              <a:rPr sz="2200" dirty="0">
                <a:solidFill>
                  <a:srgbClr val="414141"/>
                </a:solidFill>
              </a:rPr>
              <a:t>Brødtekst, niveau fire</a:t>
            </a:r>
          </a:p>
          <a:p>
            <a:pPr lvl="4">
              <a:defRPr sz="1800">
                <a:solidFill>
                  <a:srgbClr val="000000"/>
                </a:solidFill>
              </a:defRPr>
            </a:pPr>
            <a:r>
              <a:rPr sz="2200" dirty="0">
                <a:solidFill>
                  <a:srgbClr val="414141"/>
                </a:solidFill>
              </a:rPr>
              <a:t>Brødtekst, niveau fem</a:t>
            </a:r>
          </a:p>
        </p:txBody>
      </p:sp>
      <p:pic>
        <p:nvPicPr>
          <p:cNvPr id="7" name="ÆS_logo_POS_CMYK.pdf"/>
          <p:cNvPicPr/>
          <p:nvPr/>
        </p:nvPicPr>
        <p:blipFill>
          <a:blip r:embed="rId17" cstate="screen">
            <a:extLst>
              <a:ext uri="{28A0092B-C50C-407E-A947-70E740481C1C}">
                <a14:useLocalDpi xmlns:a14="http://schemas.microsoft.com/office/drawing/2010/main"/>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609632156"/>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a:solidFill>
            <a:schemeClr val="tx1">
              <a:lumMod val="75000"/>
              <a:lumOff val="25000"/>
            </a:schemeClr>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a:solidFill>
            <a:schemeClr val="tx1">
              <a:lumMod val="75000"/>
              <a:lumOff val="25000"/>
            </a:schemeClr>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BAC61B9-0F22-0B5A-1E16-7FFD4EDB0BFE}"/>
              </a:ext>
            </a:extLst>
          </p:cNvPr>
          <p:cNvGraphicFramePr>
            <a:graphicFrameLocks noChangeAspect="1"/>
          </p:cNvGraphicFramePr>
          <p:nvPr userDrawn="1">
            <p:custDataLst>
              <p:tags r:id="rId16"/>
            </p:custDataLst>
            <p:extLst>
              <p:ext uri="{D42A27DB-BD31-4B8C-83A1-F6EECF244321}">
                <p14:modId xmlns:p14="http://schemas.microsoft.com/office/powerpoint/2010/main" val="304108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5" imgH="424" progId="TCLayout.ActiveDocument.1">
                  <p:embed/>
                </p:oleObj>
              </mc:Choice>
              <mc:Fallback>
                <p:oleObj name="think-cell Slide" r:id="rId17" imgW="425" imgH="424" progId="TCLayout.ActiveDocument.1">
                  <p:embed/>
                  <p:pic>
                    <p:nvPicPr>
                      <p:cNvPr id="8" name="Object 7" hidden="1">
                        <a:extLst>
                          <a:ext uri="{FF2B5EF4-FFF2-40B4-BE49-F238E27FC236}">
                            <a16:creationId xmlns:a16="http://schemas.microsoft.com/office/drawing/2014/main" id="{BBAC61B9-0F22-0B5A-1E16-7FFD4EDB0BF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hape 2"/>
          <p:cNvSpPr/>
          <p:nvPr/>
        </p:nvSpPr>
        <p:spPr>
          <a:xfrm>
            <a:off x="476250" y="1305719"/>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3" name="Shape 3"/>
          <p:cNvSpPr/>
          <p:nvPr/>
        </p:nvSpPr>
        <p:spPr>
          <a:xfrm>
            <a:off x="476250" y="225226"/>
            <a:ext cx="11247461" cy="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ln w="12700">
            <a:solidFill>
              <a:srgbClr val="444444">
                <a:alpha val="30000"/>
              </a:srgbClr>
            </a:solidFill>
            <a:miter lim="400000"/>
          </a:ln>
        </p:spPr>
        <p:txBody>
          <a:bodyPr lIns="0" tIns="0" rIns="0" bIns="0" anchor="ctr"/>
          <a:lstStyle/>
          <a:p>
            <a:pPr lvl="0" algn="l" defTabSz="321457">
              <a:defRPr sz="1200">
                <a:solidFill>
                  <a:srgbClr val="000000"/>
                </a:solidFill>
                <a:latin typeface="Helvetica"/>
                <a:ea typeface="Helvetica"/>
                <a:cs typeface="Helvetica"/>
                <a:sym typeface="Helvetica"/>
              </a:defRPr>
            </a:pPr>
            <a:endParaRPr lang="da-DK" sz="1200"/>
          </a:p>
        </p:txBody>
      </p:sp>
      <p:sp>
        <p:nvSpPr>
          <p:cNvPr id="4" name="Shape 4"/>
          <p:cNvSpPr>
            <a:spLocks noGrp="1"/>
          </p:cNvSpPr>
          <p:nvPr>
            <p:ph type="title"/>
          </p:nvPr>
        </p:nvSpPr>
        <p:spPr>
          <a:xfrm>
            <a:off x="484211" y="233406"/>
            <a:ext cx="11239500" cy="965156"/>
          </a:xfrm>
          <a:prstGeom prst="rect">
            <a:avLst/>
          </a:prstGeom>
          <a:ln w="12700">
            <a:miter lim="400000"/>
          </a:ln>
          <a:extLst>
            <a:ext uri="{C572A759-6A51-4108-AA02-DFA0A04FC94B}">
              <ma14:wrappingTextBoxFlag xmlns:ma14="http://schemas.microsoft.com/office/mac/drawingml/2011/main" xmlns="" val="1"/>
            </a:ext>
          </a:extLst>
        </p:spPr>
        <p:txBody>
          <a:bodyPr vert="horz" lIns="0" tIns="0" rIns="0" bIns="0" anchor="ctr">
            <a:normAutofit/>
          </a:bodyPr>
          <a:lstStyle/>
          <a:p>
            <a:pPr lvl="0">
              <a:defRPr sz="1800">
                <a:solidFill>
                  <a:srgbClr val="000000"/>
                </a:solidFill>
              </a:defRPr>
            </a:pPr>
            <a:r>
              <a:rPr lang="da-DK" sz="4900">
                <a:solidFill>
                  <a:srgbClr val="B3242A"/>
                </a:solidFill>
              </a:rPr>
              <a:t>Titeltekst</a:t>
            </a:r>
          </a:p>
        </p:txBody>
      </p:sp>
      <p:sp>
        <p:nvSpPr>
          <p:cNvPr id="5" name="Shape 5"/>
          <p:cNvSpPr>
            <a:spLocks noGrp="1"/>
          </p:cNvSpPr>
          <p:nvPr>
            <p:ph type="body" idx="1"/>
          </p:nvPr>
        </p:nvSpPr>
        <p:spPr>
          <a:xfrm>
            <a:off x="1032573" y="1493490"/>
            <a:ext cx="10683177" cy="47123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a:solidFill>
                  <a:srgbClr val="000000"/>
                </a:solidFill>
              </a:defRPr>
            </a:pPr>
            <a:r>
              <a:rPr lang="da-DK" sz="2200">
                <a:solidFill>
                  <a:srgbClr val="414141"/>
                </a:solidFill>
              </a:rPr>
              <a:t>Brødtekst, niveau et</a:t>
            </a:r>
          </a:p>
          <a:p>
            <a:pPr lvl="1">
              <a:defRPr sz="1800">
                <a:solidFill>
                  <a:srgbClr val="000000"/>
                </a:solidFill>
              </a:defRPr>
            </a:pPr>
            <a:r>
              <a:rPr lang="da-DK" sz="2200">
                <a:solidFill>
                  <a:srgbClr val="414141"/>
                </a:solidFill>
              </a:rPr>
              <a:t>Brødtekst, niveau to</a:t>
            </a:r>
          </a:p>
          <a:p>
            <a:pPr lvl="2">
              <a:defRPr sz="1800">
                <a:solidFill>
                  <a:srgbClr val="000000"/>
                </a:solidFill>
              </a:defRPr>
            </a:pPr>
            <a:r>
              <a:rPr lang="da-DK" sz="2200">
                <a:solidFill>
                  <a:srgbClr val="414141"/>
                </a:solidFill>
              </a:rPr>
              <a:t>Brødtekst, niveau tre</a:t>
            </a:r>
          </a:p>
          <a:p>
            <a:pPr lvl="3">
              <a:defRPr sz="1800">
                <a:solidFill>
                  <a:srgbClr val="000000"/>
                </a:solidFill>
              </a:defRPr>
            </a:pPr>
            <a:r>
              <a:rPr lang="da-DK" sz="2200">
                <a:solidFill>
                  <a:srgbClr val="414141"/>
                </a:solidFill>
              </a:rPr>
              <a:t>Brødtekst, niveau fire</a:t>
            </a:r>
          </a:p>
          <a:p>
            <a:pPr lvl="4">
              <a:defRPr sz="1800">
                <a:solidFill>
                  <a:srgbClr val="000000"/>
                </a:solidFill>
              </a:defRPr>
            </a:pPr>
            <a:r>
              <a:rPr lang="da-DK" sz="2200">
                <a:solidFill>
                  <a:srgbClr val="414141"/>
                </a:solidFill>
              </a:rPr>
              <a:t>Brødtekst, niveau fem</a:t>
            </a:r>
          </a:p>
        </p:txBody>
      </p:sp>
      <p:pic>
        <p:nvPicPr>
          <p:cNvPr id="7" name="ÆS_logo_POS_CMYK.pdf"/>
          <p:cNvPicPr/>
          <p:nvPr/>
        </p:nvPicPr>
        <p:blipFill>
          <a:blip r:embed="rId19" cstate="print">
            <a:extLst>
              <a:ext uri="{28A0092B-C50C-407E-A947-70E740481C1C}">
                <a14:useLocalDpi xmlns:a14="http://schemas.microsoft.com/office/drawing/2010/main" val="0"/>
              </a:ext>
            </a:extLst>
          </a:blip>
          <a:stretch>
            <a:fillRect/>
          </a:stretch>
        </p:blipFill>
        <p:spPr>
          <a:xfrm>
            <a:off x="10369775" y="6426141"/>
            <a:ext cx="1356844" cy="233263"/>
          </a:xfrm>
          <a:prstGeom prst="rect">
            <a:avLst/>
          </a:prstGeom>
          <a:ln w="12700">
            <a:miter lim="400000"/>
          </a:ln>
        </p:spPr>
      </p:pic>
    </p:spTree>
    <p:extLst>
      <p:ext uri="{BB962C8B-B14F-4D97-AF65-F5344CB8AC3E}">
        <p14:creationId xmlns:p14="http://schemas.microsoft.com/office/powerpoint/2010/main" val="4022749680"/>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Lst>
  <p:transition spd="med"/>
  <p:txStyles>
    <p:title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p:titleStyle>
    <p:bodyStyle>
      <a:lvl1pPr marL="240460" indent="-240460" algn="l" defTabSz="410751" eaLnBrk="1" hangingPunct="1">
        <a:lnSpc>
          <a:spcPct val="100000"/>
        </a:lnSpc>
        <a:spcBef>
          <a:spcPts val="1000"/>
        </a:spcBef>
        <a:buSzPct val="75000"/>
        <a:buFont typeface="Arial"/>
        <a:buChar char="•"/>
        <a:defRPr sz="2200" b="0" i="0" baseline="0">
          <a:solidFill>
            <a:schemeClr val="tx2"/>
          </a:solidFill>
          <a:latin typeface="+mn-lt"/>
          <a:ea typeface="Georgia"/>
          <a:cs typeface="Arial"/>
          <a:sym typeface="Georgia"/>
        </a:defRPr>
      </a:lvl1pPr>
      <a:lvl2pPr marL="480920" indent="-240460" algn="l" defTabSz="410751" eaLnBrk="1" hangingPunct="1">
        <a:lnSpc>
          <a:spcPct val="100000"/>
        </a:lnSpc>
        <a:spcBef>
          <a:spcPts val="1000"/>
        </a:spcBef>
        <a:buSzPct val="75000"/>
        <a:buChar char="•"/>
        <a:defRPr sz="2200" b="0" i="0" baseline="0">
          <a:solidFill>
            <a:schemeClr val="tx2"/>
          </a:solidFill>
          <a:latin typeface="+mn-lt"/>
          <a:ea typeface="Georgia"/>
          <a:cs typeface="Arial"/>
          <a:sym typeface="Georgia"/>
        </a:defRPr>
      </a:lvl2pPr>
      <a:lvl3pPr marL="721381" indent="-240460" algn="l" defTabSz="410751" eaLnBrk="1" hangingPunct="1">
        <a:lnSpc>
          <a:spcPct val="100000"/>
        </a:lnSpc>
        <a:spcBef>
          <a:spcPts val="1000"/>
        </a:spcBef>
        <a:buSzPct val="75000"/>
        <a:buChar char="•"/>
        <a:defRPr sz="2200" b="0" i="0" baseline="0">
          <a:solidFill>
            <a:schemeClr val="tx2"/>
          </a:solidFill>
          <a:latin typeface="+mn-lt"/>
          <a:ea typeface="Georgia"/>
          <a:cs typeface="Arial"/>
          <a:sym typeface="Georgia"/>
        </a:defRPr>
      </a:lvl3pPr>
      <a:lvl4pPr marL="961841" indent="-240460" defTabSz="410751" eaLnBrk="1" hangingPunct="1">
        <a:lnSpc>
          <a:spcPct val="100000"/>
        </a:lnSpc>
        <a:spcBef>
          <a:spcPts val="1000"/>
        </a:spcBef>
        <a:buSzPct val="75000"/>
        <a:buChar char="•"/>
        <a:defRPr sz="2200" b="0" i="0" baseline="0">
          <a:solidFill>
            <a:schemeClr val="tx2"/>
          </a:solidFill>
          <a:latin typeface="+mn-lt"/>
          <a:ea typeface="Georgia"/>
          <a:cs typeface="Arial"/>
          <a:sym typeface="Georgia"/>
        </a:defRPr>
      </a:lvl4pPr>
      <a:lvl5pPr marL="1202301" indent="-240460" defTabSz="410751" eaLnBrk="1" hangingPunct="1">
        <a:lnSpc>
          <a:spcPct val="100000"/>
        </a:lnSpc>
        <a:spcBef>
          <a:spcPts val="1000"/>
        </a:spcBef>
        <a:buSzPct val="75000"/>
        <a:buChar char="•"/>
        <a:defRPr sz="2200" b="0" i="0" baseline="0">
          <a:solidFill>
            <a:schemeClr val="tx2"/>
          </a:solidFill>
          <a:latin typeface="+mn-lt"/>
          <a:ea typeface="Georgia"/>
          <a:cs typeface="Arial"/>
          <a:sym typeface="Georgia"/>
        </a:defRPr>
      </a:lvl5pPr>
      <a:lvl6pPr marL="1945610" indent="-293676" defTabSz="410751" eaLnBrk="1" hangingPunct="1">
        <a:spcBef>
          <a:spcPts val="1687"/>
        </a:spcBef>
        <a:buSzPct val="75000"/>
        <a:buChar char="•"/>
        <a:defRPr sz="2200">
          <a:solidFill>
            <a:srgbClr val="414141"/>
          </a:solidFill>
          <a:latin typeface="Georgia"/>
          <a:ea typeface="Georgia"/>
          <a:cs typeface="Georgia"/>
          <a:sym typeface="Georgia"/>
        </a:defRPr>
      </a:lvl6pPr>
      <a:lvl7pPr marL="2275997" indent="-293676" defTabSz="410751" eaLnBrk="1" hangingPunct="1">
        <a:spcBef>
          <a:spcPts val="1687"/>
        </a:spcBef>
        <a:buSzPct val="75000"/>
        <a:buChar char="•"/>
        <a:defRPr sz="2200">
          <a:solidFill>
            <a:srgbClr val="414141"/>
          </a:solidFill>
          <a:latin typeface="Georgia"/>
          <a:ea typeface="Georgia"/>
          <a:cs typeface="Georgia"/>
          <a:sym typeface="Georgia"/>
        </a:defRPr>
      </a:lvl7pPr>
      <a:lvl8pPr marL="2606383" indent="-293676" defTabSz="410751" eaLnBrk="1" hangingPunct="1">
        <a:spcBef>
          <a:spcPts val="1687"/>
        </a:spcBef>
        <a:buSzPct val="75000"/>
        <a:buChar char="•"/>
        <a:defRPr sz="2200">
          <a:solidFill>
            <a:srgbClr val="414141"/>
          </a:solidFill>
          <a:latin typeface="Georgia"/>
          <a:ea typeface="Georgia"/>
          <a:cs typeface="Georgia"/>
          <a:sym typeface="Georgia"/>
        </a:defRPr>
      </a:lvl8pPr>
      <a:lvl9pPr marL="2936770" indent="-293676" defTabSz="410751" eaLnBrk="1" hangingPunct="1">
        <a:spcBef>
          <a:spcPts val="1687"/>
        </a:spcBef>
        <a:buSzPct val="75000"/>
        <a:buChar char="•"/>
        <a:defRPr sz="2200">
          <a:solidFill>
            <a:srgbClr val="414141"/>
          </a:solidFill>
          <a:latin typeface="Georgia"/>
          <a:ea typeface="Georgia"/>
          <a:cs typeface="Georgia"/>
          <a:sym typeface="Georgia"/>
        </a:defRPr>
      </a:lvl9pPr>
    </p:bodyStyle>
    <p:otherStyle>
      <a:lvl1pPr algn="ctr" defTabSz="410751" eaLnBrk="1" hangingPunct="1">
        <a:defRPr>
          <a:solidFill>
            <a:schemeClr val="tx1"/>
          </a:solidFill>
          <a:latin typeface="+mn-lt"/>
          <a:ea typeface="+mn-ea"/>
          <a:cs typeface="+mn-cs"/>
          <a:sym typeface="Palatino"/>
        </a:defRPr>
      </a:lvl1pPr>
      <a:lvl2pPr indent="160729" algn="ctr" defTabSz="410751" eaLnBrk="1" hangingPunct="1">
        <a:defRPr>
          <a:solidFill>
            <a:schemeClr val="tx1"/>
          </a:solidFill>
          <a:latin typeface="+mn-lt"/>
          <a:ea typeface="+mn-ea"/>
          <a:cs typeface="+mn-cs"/>
          <a:sym typeface="Palatino"/>
        </a:defRPr>
      </a:lvl2pPr>
      <a:lvl3pPr indent="321457" algn="ctr" defTabSz="410751" eaLnBrk="1" hangingPunct="1">
        <a:defRPr>
          <a:solidFill>
            <a:schemeClr val="tx1"/>
          </a:solidFill>
          <a:latin typeface="+mn-lt"/>
          <a:ea typeface="+mn-ea"/>
          <a:cs typeface="+mn-cs"/>
          <a:sym typeface="Palatino"/>
        </a:defRPr>
      </a:lvl3pPr>
      <a:lvl4pPr indent="482186" algn="ctr" defTabSz="410751" eaLnBrk="1" hangingPunct="1">
        <a:defRPr>
          <a:solidFill>
            <a:schemeClr val="tx1"/>
          </a:solidFill>
          <a:latin typeface="+mn-lt"/>
          <a:ea typeface="+mn-ea"/>
          <a:cs typeface="+mn-cs"/>
          <a:sym typeface="Palatino"/>
        </a:defRPr>
      </a:lvl4pPr>
      <a:lvl5pPr indent="642915" algn="ctr" defTabSz="410751" eaLnBrk="1" hangingPunct="1">
        <a:defRPr>
          <a:solidFill>
            <a:schemeClr val="tx1"/>
          </a:solidFill>
          <a:latin typeface="+mn-lt"/>
          <a:ea typeface="+mn-ea"/>
          <a:cs typeface="+mn-cs"/>
          <a:sym typeface="Palatino"/>
        </a:defRPr>
      </a:lvl5pPr>
      <a:lvl6pPr indent="803643" algn="ctr" defTabSz="410751" eaLnBrk="1" hangingPunct="1">
        <a:defRPr>
          <a:solidFill>
            <a:schemeClr val="tx1"/>
          </a:solidFill>
          <a:latin typeface="+mn-lt"/>
          <a:ea typeface="+mn-ea"/>
          <a:cs typeface="+mn-cs"/>
          <a:sym typeface="Palatino"/>
        </a:defRPr>
      </a:lvl6pPr>
      <a:lvl7pPr indent="964372" algn="ctr" defTabSz="410751" eaLnBrk="1" hangingPunct="1">
        <a:defRPr>
          <a:solidFill>
            <a:schemeClr val="tx1"/>
          </a:solidFill>
          <a:latin typeface="+mn-lt"/>
          <a:ea typeface="+mn-ea"/>
          <a:cs typeface="+mn-cs"/>
          <a:sym typeface="Palatino"/>
        </a:defRPr>
      </a:lvl7pPr>
      <a:lvl8pPr indent="1125101" algn="ctr" defTabSz="410751" eaLnBrk="1" hangingPunct="1">
        <a:defRPr>
          <a:solidFill>
            <a:schemeClr val="tx1"/>
          </a:solidFill>
          <a:latin typeface="+mn-lt"/>
          <a:ea typeface="+mn-ea"/>
          <a:cs typeface="+mn-cs"/>
          <a:sym typeface="Palatino"/>
        </a:defRPr>
      </a:lvl8pPr>
      <a:lvl9pPr indent="1285829" algn="ctr" defTabSz="410751" eaLnBrk="1" hangingPunct="1">
        <a:defRPr>
          <a:solidFill>
            <a:schemeClr val="tx1"/>
          </a:solidFill>
          <a:latin typeface="+mn-lt"/>
          <a:ea typeface="+mn-ea"/>
          <a:cs typeface="+mn-cs"/>
          <a:sym typeface="Palatino"/>
        </a:defRPr>
      </a:lvl9pPr>
    </p:otherStyle>
  </p:txStyles>
  <p:extLst>
    <p:ext uri="{27BBF7A9-308A-43DC-89C8-2F10F3537804}">
      <p15:sldGuideLst xmlns:p15="http://schemas.microsoft.com/office/powerpoint/2012/main">
        <p15:guide id="1" orient="horz" pos="763">
          <p15:clr>
            <a:srgbClr val="F26B43"/>
          </p15:clr>
        </p15:guide>
        <p15:guide id="2" pos="2880">
          <p15:clr>
            <a:srgbClr val="F26B43"/>
          </p15:clr>
        </p15:guide>
        <p15:guide id="3" orient="horz" pos="890">
          <p15:clr>
            <a:srgbClr val="F26B43"/>
          </p15:clr>
        </p15:guide>
        <p15:guide id="4" pos="480">
          <p15:clr>
            <a:srgbClr val="F26B43"/>
          </p15:clr>
        </p15:guide>
        <p15:guide id="5" pos="5534">
          <p15:clr>
            <a:srgbClr val="F26B43"/>
          </p15:clr>
        </p15:guide>
        <p15:guide id="6" orient="horz" pos="3915">
          <p15:clr>
            <a:srgbClr val="F26B43"/>
          </p15:clr>
        </p15:guide>
        <p15:guide id="7" orient="horz" pos="210">
          <p15:clr>
            <a:srgbClr val="F26B43"/>
          </p15:clr>
        </p15:guide>
        <p15:guide id="8" orient="horz" pos="1185">
          <p15:clr>
            <a:srgbClr val="F26B43"/>
          </p15:clr>
        </p15:guide>
        <p15:guide id="9" orient="horz" pos="1040">
          <p15:clr>
            <a:srgbClr val="F26B43"/>
          </p15:clr>
        </p15:guide>
        <p15:guide id="10" pos="226">
          <p15:clr>
            <a:srgbClr val="F26B43"/>
          </p15:clr>
        </p15:guide>
        <p15:guide id="11" orient="horz" pos="935">
          <p15:clr>
            <a:srgbClr val="F26B43"/>
          </p15:clr>
        </p15:guide>
        <p15:guide id="12"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9.jpg"/><Relationship Id="rId1" Type="http://schemas.openxmlformats.org/officeDocument/2006/relationships/slideLayout" Target="../slideLayouts/slideLayout18.xml"/><Relationship Id="rId6" Type="http://schemas.openxmlformats.org/officeDocument/2006/relationships/image" Target="../media/image23.jpg"/><Relationship Id="rId11" Type="http://schemas.openxmlformats.org/officeDocument/2006/relationships/image" Target="../media/image28.jpg"/><Relationship Id="rId5" Type="http://schemas.openxmlformats.org/officeDocument/2006/relationships/image" Target="../media/image22.jpg"/><Relationship Id="rId10" Type="http://schemas.openxmlformats.org/officeDocument/2006/relationships/image" Target="../media/image27.png"/><Relationship Id="rId4" Type="http://schemas.openxmlformats.org/officeDocument/2006/relationships/image" Target="../media/image21.jpg"/><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jp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00" name="Group 2"/>
          <p:cNvGrpSpPr>
            <a:grpSpLocks/>
          </p:cNvGrpSpPr>
          <p:nvPr/>
        </p:nvGrpSpPr>
        <p:grpSpPr bwMode="auto">
          <a:xfrm>
            <a:off x="584508" y="456575"/>
            <a:ext cx="7084375" cy="6064995"/>
            <a:chOff x="660" y="346"/>
            <a:chExt cx="3851" cy="3589"/>
          </a:xfrm>
        </p:grpSpPr>
        <p:grpSp>
          <p:nvGrpSpPr>
            <p:cNvPr id="29774" name="Group 3"/>
            <p:cNvGrpSpPr>
              <a:grpSpLocks/>
            </p:cNvGrpSpPr>
            <p:nvPr/>
          </p:nvGrpSpPr>
          <p:grpSpPr bwMode="auto">
            <a:xfrm>
              <a:off x="793" y="346"/>
              <a:ext cx="1934" cy="1488"/>
              <a:chOff x="604" y="668"/>
              <a:chExt cx="1934" cy="1488"/>
            </a:xfrm>
          </p:grpSpPr>
          <p:sp>
            <p:nvSpPr>
              <p:cNvPr id="29883" name="Freeform 4"/>
              <p:cNvSpPr>
                <a:spLocks/>
              </p:cNvSpPr>
              <p:nvPr/>
            </p:nvSpPr>
            <p:spPr bwMode="auto">
              <a:xfrm>
                <a:off x="1553" y="838"/>
                <a:ext cx="476" cy="388"/>
              </a:xfrm>
              <a:custGeom>
                <a:avLst/>
                <a:gdLst>
                  <a:gd name="T0" fmla="*/ 0 w 1239"/>
                  <a:gd name="T1" fmla="*/ 0 h 996"/>
                  <a:gd name="T2" fmla="*/ 0 w 1239"/>
                  <a:gd name="T3" fmla="*/ 0 h 996"/>
                  <a:gd name="T4" fmla="*/ 0 w 1239"/>
                  <a:gd name="T5" fmla="*/ 0 h 996"/>
                  <a:gd name="T6" fmla="*/ 0 w 1239"/>
                  <a:gd name="T7" fmla="*/ 0 h 996"/>
                  <a:gd name="T8" fmla="*/ 0 w 1239"/>
                  <a:gd name="T9" fmla="*/ 0 h 996"/>
                  <a:gd name="T10" fmla="*/ 0 w 1239"/>
                  <a:gd name="T11" fmla="*/ 0 h 996"/>
                  <a:gd name="T12" fmla="*/ 0 w 1239"/>
                  <a:gd name="T13" fmla="*/ 0 h 996"/>
                  <a:gd name="T14" fmla="*/ 0 w 1239"/>
                  <a:gd name="T15" fmla="*/ 0 h 996"/>
                  <a:gd name="T16" fmla="*/ 0 w 1239"/>
                  <a:gd name="T17" fmla="*/ 0 h 996"/>
                  <a:gd name="T18" fmla="*/ 0 w 1239"/>
                  <a:gd name="T19" fmla="*/ 0 h 996"/>
                  <a:gd name="T20" fmla="*/ 0 w 1239"/>
                  <a:gd name="T21" fmla="*/ 0 h 996"/>
                  <a:gd name="T22" fmla="*/ 0 w 1239"/>
                  <a:gd name="T23" fmla="*/ 0 h 996"/>
                  <a:gd name="T24" fmla="*/ 0 w 1239"/>
                  <a:gd name="T25" fmla="*/ 0 h 996"/>
                  <a:gd name="T26" fmla="*/ 0 w 1239"/>
                  <a:gd name="T27" fmla="*/ 0 h 996"/>
                  <a:gd name="T28" fmla="*/ 0 w 1239"/>
                  <a:gd name="T29" fmla="*/ 0 h 996"/>
                  <a:gd name="T30" fmla="*/ 0 w 1239"/>
                  <a:gd name="T31" fmla="*/ 0 h 996"/>
                  <a:gd name="T32" fmla="*/ 0 w 1239"/>
                  <a:gd name="T33" fmla="*/ 0 h 996"/>
                  <a:gd name="T34" fmla="*/ 0 w 1239"/>
                  <a:gd name="T35" fmla="*/ 0 h 996"/>
                  <a:gd name="T36" fmla="*/ 0 w 1239"/>
                  <a:gd name="T37" fmla="*/ 0 h 996"/>
                  <a:gd name="T38" fmla="*/ 0 w 1239"/>
                  <a:gd name="T39" fmla="*/ 0 h 996"/>
                  <a:gd name="T40" fmla="*/ 0 w 1239"/>
                  <a:gd name="T41" fmla="*/ 0 h 996"/>
                  <a:gd name="T42" fmla="*/ 0 w 1239"/>
                  <a:gd name="T43" fmla="*/ 0 h 996"/>
                  <a:gd name="T44" fmla="*/ 0 w 1239"/>
                  <a:gd name="T45" fmla="*/ 0 h 996"/>
                  <a:gd name="T46" fmla="*/ 0 w 1239"/>
                  <a:gd name="T47" fmla="*/ 0 h 996"/>
                  <a:gd name="T48" fmla="*/ 0 w 1239"/>
                  <a:gd name="T49" fmla="*/ 0 h 996"/>
                  <a:gd name="T50" fmla="*/ 0 w 1239"/>
                  <a:gd name="T51" fmla="*/ 0 h 996"/>
                  <a:gd name="T52" fmla="*/ 0 w 1239"/>
                  <a:gd name="T53" fmla="*/ 0 h 996"/>
                  <a:gd name="T54" fmla="*/ 0 w 1239"/>
                  <a:gd name="T55" fmla="*/ 0 h 996"/>
                  <a:gd name="T56" fmla="*/ 0 w 1239"/>
                  <a:gd name="T57" fmla="*/ 0 h 996"/>
                  <a:gd name="T58" fmla="*/ 0 w 1239"/>
                  <a:gd name="T59" fmla="*/ 0 h 996"/>
                  <a:gd name="T60" fmla="*/ 0 w 1239"/>
                  <a:gd name="T61" fmla="*/ 0 h 996"/>
                  <a:gd name="T62" fmla="*/ 0 w 1239"/>
                  <a:gd name="T63" fmla="*/ 0 h 996"/>
                  <a:gd name="T64" fmla="*/ 0 w 1239"/>
                  <a:gd name="T65" fmla="*/ 0 h 996"/>
                  <a:gd name="T66" fmla="*/ 0 w 1239"/>
                  <a:gd name="T67" fmla="*/ 0 h 996"/>
                  <a:gd name="T68" fmla="*/ 0 w 1239"/>
                  <a:gd name="T69" fmla="*/ 0 h 996"/>
                  <a:gd name="T70" fmla="*/ 0 w 1239"/>
                  <a:gd name="T71" fmla="*/ 0 h 996"/>
                  <a:gd name="T72" fmla="*/ 0 w 1239"/>
                  <a:gd name="T73" fmla="*/ 0 h 996"/>
                  <a:gd name="T74" fmla="*/ 0 w 1239"/>
                  <a:gd name="T75" fmla="*/ 0 h 996"/>
                  <a:gd name="T76" fmla="*/ 0 w 1239"/>
                  <a:gd name="T77" fmla="*/ 0 h 996"/>
                  <a:gd name="T78" fmla="*/ 0 w 1239"/>
                  <a:gd name="T79" fmla="*/ 0 h 996"/>
                  <a:gd name="T80" fmla="*/ 0 w 1239"/>
                  <a:gd name="T81" fmla="*/ 0 h 996"/>
                  <a:gd name="T82" fmla="*/ 0 w 1239"/>
                  <a:gd name="T83" fmla="*/ 0 h 996"/>
                  <a:gd name="T84" fmla="*/ 0 w 1239"/>
                  <a:gd name="T85" fmla="*/ 0 h 996"/>
                  <a:gd name="T86" fmla="*/ 0 w 1239"/>
                  <a:gd name="T87" fmla="*/ 0 h 996"/>
                  <a:gd name="T88" fmla="*/ 0 w 1239"/>
                  <a:gd name="T89" fmla="*/ 0 h 996"/>
                  <a:gd name="T90" fmla="*/ 0 w 1239"/>
                  <a:gd name="T91" fmla="*/ 0 h 996"/>
                  <a:gd name="T92" fmla="*/ 0 w 1239"/>
                  <a:gd name="T93" fmla="*/ 0 h 996"/>
                  <a:gd name="T94" fmla="*/ 0 w 1239"/>
                  <a:gd name="T95" fmla="*/ 0 h 996"/>
                  <a:gd name="T96" fmla="*/ 0 w 1239"/>
                  <a:gd name="T97" fmla="*/ 0 h 996"/>
                  <a:gd name="T98" fmla="*/ 0 w 1239"/>
                  <a:gd name="T99" fmla="*/ 0 h 996"/>
                  <a:gd name="T100" fmla="*/ 0 w 1239"/>
                  <a:gd name="T101" fmla="*/ 0 h 996"/>
                  <a:gd name="T102" fmla="*/ 0 w 1239"/>
                  <a:gd name="T103" fmla="*/ 0 h 996"/>
                  <a:gd name="T104" fmla="*/ 0 w 1239"/>
                  <a:gd name="T105" fmla="*/ 0 h 996"/>
                  <a:gd name="T106" fmla="*/ 0 w 1239"/>
                  <a:gd name="T107" fmla="*/ 0 h 996"/>
                  <a:gd name="T108" fmla="*/ 0 w 1239"/>
                  <a:gd name="T109" fmla="*/ 0 h 9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39"/>
                  <a:gd name="T166" fmla="*/ 0 h 996"/>
                  <a:gd name="T167" fmla="*/ 1239 w 1239"/>
                  <a:gd name="T168" fmla="*/ 996 h 9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39" h="996">
                    <a:moveTo>
                      <a:pt x="0" y="846"/>
                    </a:moveTo>
                    <a:cubicBezTo>
                      <a:pt x="1" y="840"/>
                      <a:pt x="1" y="834"/>
                      <a:pt x="3" y="828"/>
                    </a:cubicBezTo>
                    <a:cubicBezTo>
                      <a:pt x="4" y="825"/>
                      <a:pt x="9" y="819"/>
                      <a:pt x="9" y="819"/>
                    </a:cubicBezTo>
                    <a:lnTo>
                      <a:pt x="159" y="522"/>
                    </a:lnTo>
                    <a:lnTo>
                      <a:pt x="168" y="462"/>
                    </a:lnTo>
                    <a:lnTo>
                      <a:pt x="213" y="414"/>
                    </a:lnTo>
                    <a:lnTo>
                      <a:pt x="267" y="366"/>
                    </a:lnTo>
                    <a:lnTo>
                      <a:pt x="315" y="309"/>
                    </a:lnTo>
                    <a:lnTo>
                      <a:pt x="456" y="81"/>
                    </a:lnTo>
                    <a:lnTo>
                      <a:pt x="600" y="87"/>
                    </a:lnTo>
                    <a:lnTo>
                      <a:pt x="711" y="87"/>
                    </a:lnTo>
                    <a:lnTo>
                      <a:pt x="780" y="75"/>
                    </a:lnTo>
                    <a:lnTo>
                      <a:pt x="861" y="48"/>
                    </a:lnTo>
                    <a:lnTo>
                      <a:pt x="975" y="0"/>
                    </a:lnTo>
                    <a:lnTo>
                      <a:pt x="996" y="15"/>
                    </a:lnTo>
                    <a:lnTo>
                      <a:pt x="1110" y="24"/>
                    </a:lnTo>
                    <a:lnTo>
                      <a:pt x="1116" y="105"/>
                    </a:lnTo>
                    <a:lnTo>
                      <a:pt x="1095" y="165"/>
                    </a:lnTo>
                    <a:lnTo>
                      <a:pt x="1101" y="225"/>
                    </a:lnTo>
                    <a:lnTo>
                      <a:pt x="1170" y="291"/>
                    </a:lnTo>
                    <a:lnTo>
                      <a:pt x="1209" y="357"/>
                    </a:lnTo>
                    <a:lnTo>
                      <a:pt x="1239" y="429"/>
                    </a:lnTo>
                    <a:lnTo>
                      <a:pt x="1197" y="429"/>
                    </a:lnTo>
                    <a:lnTo>
                      <a:pt x="1194" y="468"/>
                    </a:lnTo>
                    <a:lnTo>
                      <a:pt x="1164" y="504"/>
                    </a:lnTo>
                    <a:lnTo>
                      <a:pt x="1098" y="507"/>
                    </a:lnTo>
                    <a:lnTo>
                      <a:pt x="1104" y="579"/>
                    </a:lnTo>
                    <a:lnTo>
                      <a:pt x="1155" y="690"/>
                    </a:lnTo>
                    <a:lnTo>
                      <a:pt x="1236" y="699"/>
                    </a:lnTo>
                    <a:lnTo>
                      <a:pt x="1239" y="732"/>
                    </a:lnTo>
                    <a:lnTo>
                      <a:pt x="1134" y="738"/>
                    </a:lnTo>
                    <a:lnTo>
                      <a:pt x="1092" y="759"/>
                    </a:lnTo>
                    <a:lnTo>
                      <a:pt x="1005" y="762"/>
                    </a:lnTo>
                    <a:lnTo>
                      <a:pt x="903" y="741"/>
                    </a:lnTo>
                    <a:lnTo>
                      <a:pt x="885" y="822"/>
                    </a:lnTo>
                    <a:lnTo>
                      <a:pt x="831" y="816"/>
                    </a:lnTo>
                    <a:lnTo>
                      <a:pt x="816" y="894"/>
                    </a:lnTo>
                    <a:lnTo>
                      <a:pt x="789" y="921"/>
                    </a:lnTo>
                    <a:lnTo>
                      <a:pt x="696" y="927"/>
                    </a:lnTo>
                    <a:lnTo>
                      <a:pt x="633" y="912"/>
                    </a:lnTo>
                    <a:lnTo>
                      <a:pt x="612" y="960"/>
                    </a:lnTo>
                    <a:lnTo>
                      <a:pt x="495" y="930"/>
                    </a:lnTo>
                    <a:lnTo>
                      <a:pt x="474" y="906"/>
                    </a:lnTo>
                    <a:lnTo>
                      <a:pt x="435" y="915"/>
                    </a:lnTo>
                    <a:lnTo>
                      <a:pt x="408" y="939"/>
                    </a:lnTo>
                    <a:lnTo>
                      <a:pt x="378" y="933"/>
                    </a:lnTo>
                    <a:lnTo>
                      <a:pt x="363" y="900"/>
                    </a:lnTo>
                    <a:lnTo>
                      <a:pt x="294" y="888"/>
                    </a:lnTo>
                    <a:lnTo>
                      <a:pt x="285" y="909"/>
                    </a:lnTo>
                    <a:lnTo>
                      <a:pt x="240" y="924"/>
                    </a:lnTo>
                    <a:lnTo>
                      <a:pt x="162" y="996"/>
                    </a:lnTo>
                    <a:lnTo>
                      <a:pt x="129" y="972"/>
                    </a:lnTo>
                    <a:lnTo>
                      <a:pt x="90" y="900"/>
                    </a:lnTo>
                    <a:lnTo>
                      <a:pt x="57" y="870"/>
                    </a:lnTo>
                    <a:lnTo>
                      <a:pt x="0" y="84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4" name="Freeform 5"/>
              <p:cNvSpPr>
                <a:spLocks/>
              </p:cNvSpPr>
              <p:nvPr/>
            </p:nvSpPr>
            <p:spPr bwMode="auto">
              <a:xfrm>
                <a:off x="1868" y="668"/>
                <a:ext cx="292" cy="710"/>
              </a:xfrm>
              <a:custGeom>
                <a:avLst/>
                <a:gdLst>
                  <a:gd name="T0" fmla="*/ 0 w 760"/>
                  <a:gd name="T1" fmla="*/ 0 h 1824"/>
                  <a:gd name="T2" fmla="*/ 0 w 760"/>
                  <a:gd name="T3" fmla="*/ 0 h 1824"/>
                  <a:gd name="T4" fmla="*/ 0 w 760"/>
                  <a:gd name="T5" fmla="*/ 0 h 1824"/>
                  <a:gd name="T6" fmla="*/ 0 w 760"/>
                  <a:gd name="T7" fmla="*/ 0 h 1824"/>
                  <a:gd name="T8" fmla="*/ 0 w 760"/>
                  <a:gd name="T9" fmla="*/ 0 h 1824"/>
                  <a:gd name="T10" fmla="*/ 0 w 760"/>
                  <a:gd name="T11" fmla="*/ 0 h 1824"/>
                  <a:gd name="T12" fmla="*/ 0 w 760"/>
                  <a:gd name="T13" fmla="*/ 0 h 1824"/>
                  <a:gd name="T14" fmla="*/ 0 w 760"/>
                  <a:gd name="T15" fmla="*/ 0 h 1824"/>
                  <a:gd name="T16" fmla="*/ 0 w 760"/>
                  <a:gd name="T17" fmla="*/ 0 h 1824"/>
                  <a:gd name="T18" fmla="*/ 0 w 760"/>
                  <a:gd name="T19" fmla="*/ 0 h 1824"/>
                  <a:gd name="T20" fmla="*/ 0 w 760"/>
                  <a:gd name="T21" fmla="*/ 0 h 1824"/>
                  <a:gd name="T22" fmla="*/ 0 w 760"/>
                  <a:gd name="T23" fmla="*/ 0 h 1824"/>
                  <a:gd name="T24" fmla="*/ 0 w 760"/>
                  <a:gd name="T25" fmla="*/ 0 h 1824"/>
                  <a:gd name="T26" fmla="*/ 0 w 760"/>
                  <a:gd name="T27" fmla="*/ 0 h 1824"/>
                  <a:gd name="T28" fmla="*/ 0 w 760"/>
                  <a:gd name="T29" fmla="*/ 0 h 1824"/>
                  <a:gd name="T30" fmla="*/ 0 w 760"/>
                  <a:gd name="T31" fmla="*/ 0 h 1824"/>
                  <a:gd name="T32" fmla="*/ 0 w 760"/>
                  <a:gd name="T33" fmla="*/ 0 h 1824"/>
                  <a:gd name="T34" fmla="*/ 0 w 760"/>
                  <a:gd name="T35" fmla="*/ 0 h 1824"/>
                  <a:gd name="T36" fmla="*/ 0 w 760"/>
                  <a:gd name="T37" fmla="*/ 0 h 1824"/>
                  <a:gd name="T38" fmla="*/ 0 w 760"/>
                  <a:gd name="T39" fmla="*/ 0 h 1824"/>
                  <a:gd name="T40" fmla="*/ 0 w 760"/>
                  <a:gd name="T41" fmla="*/ 0 h 1824"/>
                  <a:gd name="T42" fmla="*/ 0 w 760"/>
                  <a:gd name="T43" fmla="*/ 0 h 1824"/>
                  <a:gd name="T44" fmla="*/ 0 w 760"/>
                  <a:gd name="T45" fmla="*/ 0 h 1824"/>
                  <a:gd name="T46" fmla="*/ 0 w 760"/>
                  <a:gd name="T47" fmla="*/ 0 h 1824"/>
                  <a:gd name="T48" fmla="*/ 0 w 760"/>
                  <a:gd name="T49" fmla="*/ 0 h 1824"/>
                  <a:gd name="T50" fmla="*/ 0 w 760"/>
                  <a:gd name="T51" fmla="*/ 0 h 1824"/>
                  <a:gd name="T52" fmla="*/ 0 w 760"/>
                  <a:gd name="T53" fmla="*/ 0 h 1824"/>
                  <a:gd name="T54" fmla="*/ 0 w 760"/>
                  <a:gd name="T55" fmla="*/ 0 h 1824"/>
                  <a:gd name="T56" fmla="*/ 0 w 760"/>
                  <a:gd name="T57" fmla="*/ 0 h 1824"/>
                  <a:gd name="T58" fmla="*/ 0 w 760"/>
                  <a:gd name="T59" fmla="*/ 0 h 1824"/>
                  <a:gd name="T60" fmla="*/ 0 w 760"/>
                  <a:gd name="T61" fmla="*/ 0 h 1824"/>
                  <a:gd name="T62" fmla="*/ 0 w 760"/>
                  <a:gd name="T63" fmla="*/ 0 h 182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0"/>
                  <a:gd name="T97" fmla="*/ 0 h 1824"/>
                  <a:gd name="T98" fmla="*/ 760 w 760"/>
                  <a:gd name="T99" fmla="*/ 1824 h 182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0" h="1824">
                    <a:moveTo>
                      <a:pt x="468" y="1824"/>
                    </a:moveTo>
                    <a:lnTo>
                      <a:pt x="524" y="1764"/>
                    </a:lnTo>
                    <a:lnTo>
                      <a:pt x="548" y="1724"/>
                    </a:lnTo>
                    <a:lnTo>
                      <a:pt x="592" y="1700"/>
                    </a:lnTo>
                    <a:lnTo>
                      <a:pt x="624" y="1656"/>
                    </a:lnTo>
                    <a:lnTo>
                      <a:pt x="632" y="1568"/>
                    </a:lnTo>
                    <a:lnTo>
                      <a:pt x="604" y="1484"/>
                    </a:lnTo>
                    <a:lnTo>
                      <a:pt x="596" y="1388"/>
                    </a:lnTo>
                    <a:lnTo>
                      <a:pt x="604" y="1328"/>
                    </a:lnTo>
                    <a:lnTo>
                      <a:pt x="576" y="1276"/>
                    </a:lnTo>
                    <a:lnTo>
                      <a:pt x="568" y="1180"/>
                    </a:lnTo>
                    <a:lnTo>
                      <a:pt x="580" y="1124"/>
                    </a:lnTo>
                    <a:lnTo>
                      <a:pt x="596" y="1024"/>
                    </a:lnTo>
                    <a:lnTo>
                      <a:pt x="612" y="996"/>
                    </a:lnTo>
                    <a:lnTo>
                      <a:pt x="624" y="964"/>
                    </a:lnTo>
                    <a:lnTo>
                      <a:pt x="616" y="900"/>
                    </a:lnTo>
                    <a:lnTo>
                      <a:pt x="556" y="860"/>
                    </a:lnTo>
                    <a:lnTo>
                      <a:pt x="480" y="740"/>
                    </a:lnTo>
                    <a:lnTo>
                      <a:pt x="412" y="592"/>
                    </a:lnTo>
                    <a:lnTo>
                      <a:pt x="436" y="420"/>
                    </a:lnTo>
                    <a:lnTo>
                      <a:pt x="480" y="340"/>
                    </a:lnTo>
                    <a:lnTo>
                      <a:pt x="572" y="200"/>
                    </a:lnTo>
                    <a:lnTo>
                      <a:pt x="632" y="132"/>
                    </a:lnTo>
                    <a:lnTo>
                      <a:pt x="756" y="48"/>
                    </a:lnTo>
                    <a:lnTo>
                      <a:pt x="760" y="4"/>
                    </a:lnTo>
                    <a:lnTo>
                      <a:pt x="656" y="0"/>
                    </a:lnTo>
                    <a:lnTo>
                      <a:pt x="568" y="60"/>
                    </a:lnTo>
                    <a:lnTo>
                      <a:pt x="440" y="168"/>
                    </a:lnTo>
                    <a:lnTo>
                      <a:pt x="300" y="320"/>
                    </a:lnTo>
                    <a:lnTo>
                      <a:pt x="148" y="440"/>
                    </a:lnTo>
                    <a:lnTo>
                      <a:pt x="284" y="460"/>
                    </a:lnTo>
                    <a:lnTo>
                      <a:pt x="304" y="528"/>
                    </a:lnTo>
                    <a:lnTo>
                      <a:pt x="272" y="592"/>
                    </a:lnTo>
                    <a:lnTo>
                      <a:pt x="280" y="660"/>
                    </a:lnTo>
                    <a:lnTo>
                      <a:pt x="340" y="716"/>
                    </a:lnTo>
                    <a:lnTo>
                      <a:pt x="396" y="800"/>
                    </a:lnTo>
                    <a:lnTo>
                      <a:pt x="416" y="872"/>
                    </a:lnTo>
                    <a:lnTo>
                      <a:pt x="376" y="872"/>
                    </a:lnTo>
                    <a:lnTo>
                      <a:pt x="376" y="904"/>
                    </a:lnTo>
                    <a:lnTo>
                      <a:pt x="340" y="944"/>
                    </a:lnTo>
                    <a:lnTo>
                      <a:pt x="280" y="944"/>
                    </a:lnTo>
                    <a:lnTo>
                      <a:pt x="284" y="1020"/>
                    </a:lnTo>
                    <a:lnTo>
                      <a:pt x="336" y="1128"/>
                    </a:lnTo>
                    <a:lnTo>
                      <a:pt x="412" y="1128"/>
                    </a:lnTo>
                    <a:lnTo>
                      <a:pt x="416" y="1168"/>
                    </a:lnTo>
                    <a:lnTo>
                      <a:pt x="304" y="1176"/>
                    </a:lnTo>
                    <a:lnTo>
                      <a:pt x="244" y="1192"/>
                    </a:lnTo>
                    <a:lnTo>
                      <a:pt x="172" y="1200"/>
                    </a:lnTo>
                    <a:lnTo>
                      <a:pt x="88" y="1180"/>
                    </a:lnTo>
                    <a:lnTo>
                      <a:pt x="72" y="1260"/>
                    </a:lnTo>
                    <a:lnTo>
                      <a:pt x="12" y="1260"/>
                    </a:lnTo>
                    <a:lnTo>
                      <a:pt x="0" y="1328"/>
                    </a:lnTo>
                    <a:lnTo>
                      <a:pt x="24" y="1344"/>
                    </a:lnTo>
                    <a:lnTo>
                      <a:pt x="16" y="1388"/>
                    </a:lnTo>
                    <a:lnTo>
                      <a:pt x="48" y="1460"/>
                    </a:lnTo>
                    <a:lnTo>
                      <a:pt x="60" y="1608"/>
                    </a:lnTo>
                    <a:lnTo>
                      <a:pt x="108" y="1612"/>
                    </a:lnTo>
                    <a:lnTo>
                      <a:pt x="172" y="1544"/>
                    </a:lnTo>
                    <a:lnTo>
                      <a:pt x="288" y="1540"/>
                    </a:lnTo>
                    <a:lnTo>
                      <a:pt x="300" y="1508"/>
                    </a:lnTo>
                    <a:lnTo>
                      <a:pt x="396" y="1568"/>
                    </a:lnTo>
                    <a:lnTo>
                      <a:pt x="376" y="1648"/>
                    </a:lnTo>
                    <a:lnTo>
                      <a:pt x="388" y="1692"/>
                    </a:lnTo>
                    <a:lnTo>
                      <a:pt x="468" y="1748"/>
                    </a:lnTo>
                    <a:lnTo>
                      <a:pt x="468" y="182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5" name="Freeform 6"/>
              <p:cNvSpPr>
                <a:spLocks/>
              </p:cNvSpPr>
              <p:nvPr/>
            </p:nvSpPr>
            <p:spPr bwMode="auto">
              <a:xfrm>
                <a:off x="1592" y="1184"/>
                <a:ext cx="454" cy="317"/>
              </a:xfrm>
              <a:custGeom>
                <a:avLst/>
                <a:gdLst>
                  <a:gd name="T0" fmla="*/ 0 w 1182"/>
                  <a:gd name="T1" fmla="*/ 0 h 816"/>
                  <a:gd name="T2" fmla="*/ 0 w 1182"/>
                  <a:gd name="T3" fmla="*/ 0 h 816"/>
                  <a:gd name="T4" fmla="*/ 0 w 1182"/>
                  <a:gd name="T5" fmla="*/ 0 h 816"/>
                  <a:gd name="T6" fmla="*/ 0 w 1182"/>
                  <a:gd name="T7" fmla="*/ 0 h 816"/>
                  <a:gd name="T8" fmla="*/ 0 w 1182"/>
                  <a:gd name="T9" fmla="*/ 0 h 816"/>
                  <a:gd name="T10" fmla="*/ 0 w 1182"/>
                  <a:gd name="T11" fmla="*/ 0 h 816"/>
                  <a:gd name="T12" fmla="*/ 0 w 1182"/>
                  <a:gd name="T13" fmla="*/ 0 h 816"/>
                  <a:gd name="T14" fmla="*/ 0 w 1182"/>
                  <a:gd name="T15" fmla="*/ 0 h 816"/>
                  <a:gd name="T16" fmla="*/ 0 w 1182"/>
                  <a:gd name="T17" fmla="*/ 0 h 816"/>
                  <a:gd name="T18" fmla="*/ 0 w 1182"/>
                  <a:gd name="T19" fmla="*/ 0 h 816"/>
                  <a:gd name="T20" fmla="*/ 0 w 1182"/>
                  <a:gd name="T21" fmla="*/ 0 h 816"/>
                  <a:gd name="T22" fmla="*/ 0 w 1182"/>
                  <a:gd name="T23" fmla="*/ 0 h 816"/>
                  <a:gd name="T24" fmla="*/ 0 w 1182"/>
                  <a:gd name="T25" fmla="*/ 0 h 816"/>
                  <a:gd name="T26" fmla="*/ 0 w 1182"/>
                  <a:gd name="T27" fmla="*/ 0 h 816"/>
                  <a:gd name="T28" fmla="*/ 0 w 1182"/>
                  <a:gd name="T29" fmla="*/ 0 h 816"/>
                  <a:gd name="T30" fmla="*/ 0 w 1182"/>
                  <a:gd name="T31" fmla="*/ 0 h 816"/>
                  <a:gd name="T32" fmla="*/ 0 w 1182"/>
                  <a:gd name="T33" fmla="*/ 0 h 816"/>
                  <a:gd name="T34" fmla="*/ 0 w 1182"/>
                  <a:gd name="T35" fmla="*/ 0 h 816"/>
                  <a:gd name="T36" fmla="*/ 0 w 1182"/>
                  <a:gd name="T37" fmla="*/ 0 h 816"/>
                  <a:gd name="T38" fmla="*/ 0 w 1182"/>
                  <a:gd name="T39" fmla="*/ 0 h 816"/>
                  <a:gd name="T40" fmla="*/ 0 w 1182"/>
                  <a:gd name="T41" fmla="*/ 0 h 816"/>
                  <a:gd name="T42" fmla="*/ 0 w 1182"/>
                  <a:gd name="T43" fmla="*/ 0 h 816"/>
                  <a:gd name="T44" fmla="*/ 0 w 1182"/>
                  <a:gd name="T45" fmla="*/ 0 h 816"/>
                  <a:gd name="T46" fmla="*/ 0 w 1182"/>
                  <a:gd name="T47" fmla="*/ 0 h 816"/>
                  <a:gd name="T48" fmla="*/ 0 w 1182"/>
                  <a:gd name="T49" fmla="*/ 0 h 816"/>
                  <a:gd name="T50" fmla="*/ 0 w 1182"/>
                  <a:gd name="T51" fmla="*/ 0 h 816"/>
                  <a:gd name="T52" fmla="*/ 0 w 1182"/>
                  <a:gd name="T53" fmla="*/ 0 h 816"/>
                  <a:gd name="T54" fmla="*/ 0 w 1182"/>
                  <a:gd name="T55" fmla="*/ 0 h 816"/>
                  <a:gd name="T56" fmla="*/ 0 w 1182"/>
                  <a:gd name="T57" fmla="*/ 0 h 816"/>
                  <a:gd name="T58" fmla="*/ 0 w 1182"/>
                  <a:gd name="T59" fmla="*/ 0 h 816"/>
                  <a:gd name="T60" fmla="*/ 0 w 1182"/>
                  <a:gd name="T61" fmla="*/ 0 h 816"/>
                  <a:gd name="T62" fmla="*/ 0 w 1182"/>
                  <a:gd name="T63" fmla="*/ 0 h 816"/>
                  <a:gd name="T64" fmla="*/ 0 w 1182"/>
                  <a:gd name="T65" fmla="*/ 0 h 816"/>
                  <a:gd name="T66" fmla="*/ 0 w 1182"/>
                  <a:gd name="T67" fmla="*/ 0 h 816"/>
                  <a:gd name="T68" fmla="*/ 0 w 1182"/>
                  <a:gd name="T69" fmla="*/ 0 h 816"/>
                  <a:gd name="T70" fmla="*/ 0 w 1182"/>
                  <a:gd name="T71" fmla="*/ 0 h 816"/>
                  <a:gd name="T72" fmla="*/ 0 w 1182"/>
                  <a:gd name="T73" fmla="*/ 0 h 816"/>
                  <a:gd name="T74" fmla="*/ 0 w 1182"/>
                  <a:gd name="T75" fmla="*/ 0 h 816"/>
                  <a:gd name="T76" fmla="*/ 0 w 1182"/>
                  <a:gd name="T77" fmla="*/ 0 h 816"/>
                  <a:gd name="T78" fmla="*/ 0 w 1182"/>
                  <a:gd name="T79" fmla="*/ 0 h 816"/>
                  <a:gd name="T80" fmla="*/ 0 w 1182"/>
                  <a:gd name="T81" fmla="*/ 0 h 816"/>
                  <a:gd name="T82" fmla="*/ 0 w 1182"/>
                  <a:gd name="T83" fmla="*/ 0 h 816"/>
                  <a:gd name="T84" fmla="*/ 0 w 1182"/>
                  <a:gd name="T85" fmla="*/ 0 h 816"/>
                  <a:gd name="T86" fmla="*/ 0 w 1182"/>
                  <a:gd name="T87" fmla="*/ 0 h 816"/>
                  <a:gd name="T88" fmla="*/ 0 w 1182"/>
                  <a:gd name="T89" fmla="*/ 0 h 816"/>
                  <a:gd name="T90" fmla="*/ 0 w 1182"/>
                  <a:gd name="T91" fmla="*/ 0 h 816"/>
                  <a:gd name="T92" fmla="*/ 0 w 1182"/>
                  <a:gd name="T93" fmla="*/ 0 h 816"/>
                  <a:gd name="T94" fmla="*/ 0 w 1182"/>
                  <a:gd name="T95" fmla="*/ 0 h 816"/>
                  <a:gd name="T96" fmla="*/ 0 w 1182"/>
                  <a:gd name="T97" fmla="*/ 0 h 816"/>
                  <a:gd name="T98" fmla="*/ 0 w 1182"/>
                  <a:gd name="T99" fmla="*/ 0 h 816"/>
                  <a:gd name="T100" fmla="*/ 0 w 1182"/>
                  <a:gd name="T101" fmla="*/ 0 h 81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82"/>
                  <a:gd name="T154" fmla="*/ 0 h 816"/>
                  <a:gd name="T155" fmla="*/ 1182 w 1182"/>
                  <a:gd name="T156" fmla="*/ 816 h 81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82" h="816">
                    <a:moveTo>
                      <a:pt x="1083" y="816"/>
                    </a:moveTo>
                    <a:lnTo>
                      <a:pt x="1089" y="738"/>
                    </a:lnTo>
                    <a:lnTo>
                      <a:pt x="1113" y="639"/>
                    </a:lnTo>
                    <a:lnTo>
                      <a:pt x="1179" y="504"/>
                    </a:lnTo>
                    <a:lnTo>
                      <a:pt x="1182" y="420"/>
                    </a:lnTo>
                    <a:lnTo>
                      <a:pt x="1104" y="369"/>
                    </a:lnTo>
                    <a:lnTo>
                      <a:pt x="1101" y="276"/>
                    </a:lnTo>
                    <a:lnTo>
                      <a:pt x="1107" y="240"/>
                    </a:lnTo>
                    <a:lnTo>
                      <a:pt x="1020" y="186"/>
                    </a:lnTo>
                    <a:lnTo>
                      <a:pt x="1011" y="219"/>
                    </a:lnTo>
                    <a:lnTo>
                      <a:pt x="891" y="219"/>
                    </a:lnTo>
                    <a:lnTo>
                      <a:pt x="825" y="294"/>
                    </a:lnTo>
                    <a:lnTo>
                      <a:pt x="783" y="276"/>
                    </a:lnTo>
                    <a:lnTo>
                      <a:pt x="765" y="132"/>
                    </a:lnTo>
                    <a:lnTo>
                      <a:pt x="729" y="54"/>
                    </a:lnTo>
                    <a:lnTo>
                      <a:pt x="738" y="21"/>
                    </a:lnTo>
                    <a:lnTo>
                      <a:pt x="714" y="6"/>
                    </a:lnTo>
                    <a:lnTo>
                      <a:pt x="684" y="36"/>
                    </a:lnTo>
                    <a:lnTo>
                      <a:pt x="600" y="36"/>
                    </a:lnTo>
                    <a:lnTo>
                      <a:pt x="531" y="27"/>
                    </a:lnTo>
                    <a:lnTo>
                      <a:pt x="516" y="66"/>
                    </a:lnTo>
                    <a:lnTo>
                      <a:pt x="390" y="42"/>
                    </a:lnTo>
                    <a:lnTo>
                      <a:pt x="372" y="15"/>
                    </a:lnTo>
                    <a:lnTo>
                      <a:pt x="333" y="24"/>
                    </a:lnTo>
                    <a:lnTo>
                      <a:pt x="315" y="54"/>
                    </a:lnTo>
                    <a:lnTo>
                      <a:pt x="273" y="48"/>
                    </a:lnTo>
                    <a:lnTo>
                      <a:pt x="255" y="9"/>
                    </a:lnTo>
                    <a:lnTo>
                      <a:pt x="189" y="0"/>
                    </a:lnTo>
                    <a:lnTo>
                      <a:pt x="186" y="21"/>
                    </a:lnTo>
                    <a:lnTo>
                      <a:pt x="144" y="30"/>
                    </a:lnTo>
                    <a:lnTo>
                      <a:pt x="60" y="108"/>
                    </a:lnTo>
                    <a:lnTo>
                      <a:pt x="54" y="132"/>
                    </a:lnTo>
                    <a:lnTo>
                      <a:pt x="63" y="204"/>
                    </a:lnTo>
                    <a:lnTo>
                      <a:pt x="0" y="273"/>
                    </a:lnTo>
                    <a:lnTo>
                      <a:pt x="12" y="330"/>
                    </a:lnTo>
                    <a:lnTo>
                      <a:pt x="78" y="369"/>
                    </a:lnTo>
                    <a:lnTo>
                      <a:pt x="162" y="393"/>
                    </a:lnTo>
                    <a:lnTo>
                      <a:pt x="162" y="375"/>
                    </a:lnTo>
                    <a:lnTo>
                      <a:pt x="234" y="360"/>
                    </a:lnTo>
                    <a:lnTo>
                      <a:pt x="309" y="363"/>
                    </a:lnTo>
                    <a:lnTo>
                      <a:pt x="327" y="396"/>
                    </a:lnTo>
                    <a:lnTo>
                      <a:pt x="453" y="471"/>
                    </a:lnTo>
                    <a:lnTo>
                      <a:pt x="501" y="501"/>
                    </a:lnTo>
                    <a:lnTo>
                      <a:pt x="549" y="579"/>
                    </a:lnTo>
                    <a:lnTo>
                      <a:pt x="624" y="615"/>
                    </a:lnTo>
                    <a:lnTo>
                      <a:pt x="702" y="690"/>
                    </a:lnTo>
                    <a:lnTo>
                      <a:pt x="867" y="726"/>
                    </a:lnTo>
                    <a:lnTo>
                      <a:pt x="900" y="717"/>
                    </a:lnTo>
                    <a:lnTo>
                      <a:pt x="1038" y="741"/>
                    </a:lnTo>
                    <a:lnTo>
                      <a:pt x="1053" y="801"/>
                    </a:lnTo>
                    <a:lnTo>
                      <a:pt x="1083" y="81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6" name="Freeform 7"/>
              <p:cNvSpPr>
                <a:spLocks/>
              </p:cNvSpPr>
              <p:nvPr/>
            </p:nvSpPr>
            <p:spPr bwMode="auto">
              <a:xfrm>
                <a:off x="1145" y="1165"/>
                <a:ext cx="560" cy="422"/>
              </a:xfrm>
              <a:custGeom>
                <a:avLst/>
                <a:gdLst>
                  <a:gd name="T0" fmla="*/ 0 w 1458"/>
                  <a:gd name="T1" fmla="*/ 0 h 1086"/>
                  <a:gd name="T2" fmla="*/ 0 w 1458"/>
                  <a:gd name="T3" fmla="*/ 0 h 1086"/>
                  <a:gd name="T4" fmla="*/ 0 w 1458"/>
                  <a:gd name="T5" fmla="*/ 0 h 1086"/>
                  <a:gd name="T6" fmla="*/ 0 w 1458"/>
                  <a:gd name="T7" fmla="*/ 0 h 1086"/>
                  <a:gd name="T8" fmla="*/ 0 w 1458"/>
                  <a:gd name="T9" fmla="*/ 0 h 1086"/>
                  <a:gd name="T10" fmla="*/ 0 w 1458"/>
                  <a:gd name="T11" fmla="*/ 0 h 1086"/>
                  <a:gd name="T12" fmla="*/ 0 w 1458"/>
                  <a:gd name="T13" fmla="*/ 0 h 1086"/>
                  <a:gd name="T14" fmla="*/ 0 w 1458"/>
                  <a:gd name="T15" fmla="*/ 0 h 1086"/>
                  <a:gd name="T16" fmla="*/ 0 w 1458"/>
                  <a:gd name="T17" fmla="*/ 0 h 1086"/>
                  <a:gd name="T18" fmla="*/ 0 w 1458"/>
                  <a:gd name="T19" fmla="*/ 0 h 1086"/>
                  <a:gd name="T20" fmla="*/ 0 w 1458"/>
                  <a:gd name="T21" fmla="*/ 0 h 1086"/>
                  <a:gd name="T22" fmla="*/ 0 w 1458"/>
                  <a:gd name="T23" fmla="*/ 0 h 1086"/>
                  <a:gd name="T24" fmla="*/ 0 w 1458"/>
                  <a:gd name="T25" fmla="*/ 0 h 1086"/>
                  <a:gd name="T26" fmla="*/ 0 w 1458"/>
                  <a:gd name="T27" fmla="*/ 0 h 1086"/>
                  <a:gd name="T28" fmla="*/ 0 w 1458"/>
                  <a:gd name="T29" fmla="*/ 0 h 1086"/>
                  <a:gd name="T30" fmla="*/ 0 w 1458"/>
                  <a:gd name="T31" fmla="*/ 0 h 1086"/>
                  <a:gd name="T32" fmla="*/ 0 w 1458"/>
                  <a:gd name="T33" fmla="*/ 0 h 1086"/>
                  <a:gd name="T34" fmla="*/ 0 w 1458"/>
                  <a:gd name="T35" fmla="*/ 0 h 1086"/>
                  <a:gd name="T36" fmla="*/ 0 w 1458"/>
                  <a:gd name="T37" fmla="*/ 0 h 1086"/>
                  <a:gd name="T38" fmla="*/ 0 w 1458"/>
                  <a:gd name="T39" fmla="*/ 0 h 1086"/>
                  <a:gd name="T40" fmla="*/ 0 w 1458"/>
                  <a:gd name="T41" fmla="*/ 0 h 1086"/>
                  <a:gd name="T42" fmla="*/ 0 w 1458"/>
                  <a:gd name="T43" fmla="*/ 0 h 1086"/>
                  <a:gd name="T44" fmla="*/ 0 w 1458"/>
                  <a:gd name="T45" fmla="*/ 0 h 1086"/>
                  <a:gd name="T46" fmla="*/ 0 w 1458"/>
                  <a:gd name="T47" fmla="*/ 0 h 1086"/>
                  <a:gd name="T48" fmla="*/ 0 w 1458"/>
                  <a:gd name="T49" fmla="*/ 0 h 1086"/>
                  <a:gd name="T50" fmla="*/ 0 w 1458"/>
                  <a:gd name="T51" fmla="*/ 0 h 1086"/>
                  <a:gd name="T52" fmla="*/ 0 w 1458"/>
                  <a:gd name="T53" fmla="*/ 0 h 1086"/>
                  <a:gd name="T54" fmla="*/ 0 w 1458"/>
                  <a:gd name="T55" fmla="*/ 0 h 1086"/>
                  <a:gd name="T56" fmla="*/ 0 w 1458"/>
                  <a:gd name="T57" fmla="*/ 0 h 1086"/>
                  <a:gd name="T58" fmla="*/ 0 w 1458"/>
                  <a:gd name="T59" fmla="*/ 0 h 1086"/>
                  <a:gd name="T60" fmla="*/ 0 w 1458"/>
                  <a:gd name="T61" fmla="*/ 0 h 1086"/>
                  <a:gd name="T62" fmla="*/ 0 w 1458"/>
                  <a:gd name="T63" fmla="*/ 0 h 1086"/>
                  <a:gd name="T64" fmla="*/ 0 w 1458"/>
                  <a:gd name="T65" fmla="*/ 0 h 1086"/>
                  <a:gd name="T66" fmla="*/ 0 w 1458"/>
                  <a:gd name="T67" fmla="*/ 0 h 1086"/>
                  <a:gd name="T68" fmla="*/ 0 w 1458"/>
                  <a:gd name="T69" fmla="*/ 0 h 1086"/>
                  <a:gd name="T70" fmla="*/ 0 w 1458"/>
                  <a:gd name="T71" fmla="*/ 0 h 1086"/>
                  <a:gd name="T72" fmla="*/ 0 w 1458"/>
                  <a:gd name="T73" fmla="*/ 0 h 1086"/>
                  <a:gd name="T74" fmla="*/ 0 w 1458"/>
                  <a:gd name="T75" fmla="*/ 0 h 1086"/>
                  <a:gd name="T76" fmla="*/ 0 w 1458"/>
                  <a:gd name="T77" fmla="*/ 0 h 1086"/>
                  <a:gd name="T78" fmla="*/ 0 w 1458"/>
                  <a:gd name="T79" fmla="*/ 0 h 1086"/>
                  <a:gd name="T80" fmla="*/ 0 w 1458"/>
                  <a:gd name="T81" fmla="*/ 0 h 1086"/>
                  <a:gd name="T82" fmla="*/ 0 w 1458"/>
                  <a:gd name="T83" fmla="*/ 0 h 1086"/>
                  <a:gd name="T84" fmla="*/ 0 w 1458"/>
                  <a:gd name="T85" fmla="*/ 0 h 1086"/>
                  <a:gd name="T86" fmla="*/ 0 w 1458"/>
                  <a:gd name="T87" fmla="*/ 0 h 1086"/>
                  <a:gd name="T88" fmla="*/ 0 w 1458"/>
                  <a:gd name="T89" fmla="*/ 0 h 1086"/>
                  <a:gd name="T90" fmla="*/ 0 w 1458"/>
                  <a:gd name="T91" fmla="*/ 0 h 1086"/>
                  <a:gd name="T92" fmla="*/ 0 w 1458"/>
                  <a:gd name="T93" fmla="*/ 0 h 1086"/>
                  <a:gd name="T94" fmla="*/ 0 w 1458"/>
                  <a:gd name="T95" fmla="*/ 0 h 1086"/>
                  <a:gd name="T96" fmla="*/ 0 w 1458"/>
                  <a:gd name="T97" fmla="*/ 0 h 1086"/>
                  <a:gd name="T98" fmla="*/ 0 w 1458"/>
                  <a:gd name="T99" fmla="*/ 0 h 1086"/>
                  <a:gd name="T100" fmla="*/ 0 w 1458"/>
                  <a:gd name="T101" fmla="*/ 0 h 1086"/>
                  <a:gd name="T102" fmla="*/ 0 w 1458"/>
                  <a:gd name="T103" fmla="*/ 0 h 1086"/>
                  <a:gd name="T104" fmla="*/ 0 w 1458"/>
                  <a:gd name="T105" fmla="*/ 0 h 1086"/>
                  <a:gd name="T106" fmla="*/ 0 w 1458"/>
                  <a:gd name="T107" fmla="*/ 0 h 1086"/>
                  <a:gd name="T108" fmla="*/ 0 w 1458"/>
                  <a:gd name="T109" fmla="*/ 0 h 1086"/>
                  <a:gd name="T110" fmla="*/ 0 w 1458"/>
                  <a:gd name="T111" fmla="*/ 0 h 1086"/>
                  <a:gd name="T112" fmla="*/ 0 w 1458"/>
                  <a:gd name="T113" fmla="*/ 0 h 1086"/>
                  <a:gd name="T114" fmla="*/ 0 w 1458"/>
                  <a:gd name="T115" fmla="*/ 0 h 10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58"/>
                  <a:gd name="T175" fmla="*/ 0 h 1086"/>
                  <a:gd name="T176" fmla="*/ 1458 w 1458"/>
                  <a:gd name="T177" fmla="*/ 1086 h 10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58" h="1086">
                    <a:moveTo>
                      <a:pt x="0" y="642"/>
                    </a:moveTo>
                    <a:lnTo>
                      <a:pt x="75" y="681"/>
                    </a:lnTo>
                    <a:lnTo>
                      <a:pt x="213" y="675"/>
                    </a:lnTo>
                    <a:lnTo>
                      <a:pt x="255" y="684"/>
                    </a:lnTo>
                    <a:lnTo>
                      <a:pt x="354" y="672"/>
                    </a:lnTo>
                    <a:lnTo>
                      <a:pt x="474" y="627"/>
                    </a:lnTo>
                    <a:lnTo>
                      <a:pt x="555" y="624"/>
                    </a:lnTo>
                    <a:lnTo>
                      <a:pt x="669" y="543"/>
                    </a:lnTo>
                    <a:lnTo>
                      <a:pt x="738" y="465"/>
                    </a:lnTo>
                    <a:lnTo>
                      <a:pt x="819" y="408"/>
                    </a:lnTo>
                    <a:lnTo>
                      <a:pt x="909" y="291"/>
                    </a:lnTo>
                    <a:lnTo>
                      <a:pt x="987" y="156"/>
                    </a:lnTo>
                    <a:lnTo>
                      <a:pt x="1059" y="0"/>
                    </a:lnTo>
                    <a:lnTo>
                      <a:pt x="1113" y="24"/>
                    </a:lnTo>
                    <a:lnTo>
                      <a:pt x="1161" y="69"/>
                    </a:lnTo>
                    <a:lnTo>
                      <a:pt x="1188" y="126"/>
                    </a:lnTo>
                    <a:lnTo>
                      <a:pt x="1224" y="156"/>
                    </a:lnTo>
                    <a:lnTo>
                      <a:pt x="1227" y="252"/>
                    </a:lnTo>
                    <a:lnTo>
                      <a:pt x="1164" y="318"/>
                    </a:lnTo>
                    <a:lnTo>
                      <a:pt x="1173" y="378"/>
                    </a:lnTo>
                    <a:lnTo>
                      <a:pt x="1239" y="420"/>
                    </a:lnTo>
                    <a:lnTo>
                      <a:pt x="1323" y="444"/>
                    </a:lnTo>
                    <a:lnTo>
                      <a:pt x="1458" y="627"/>
                    </a:lnTo>
                    <a:lnTo>
                      <a:pt x="1422" y="684"/>
                    </a:lnTo>
                    <a:lnTo>
                      <a:pt x="1356" y="684"/>
                    </a:lnTo>
                    <a:lnTo>
                      <a:pt x="1242" y="711"/>
                    </a:lnTo>
                    <a:lnTo>
                      <a:pt x="1221" y="699"/>
                    </a:lnTo>
                    <a:lnTo>
                      <a:pt x="1176" y="705"/>
                    </a:lnTo>
                    <a:lnTo>
                      <a:pt x="1197" y="759"/>
                    </a:lnTo>
                    <a:lnTo>
                      <a:pt x="1221" y="780"/>
                    </a:lnTo>
                    <a:lnTo>
                      <a:pt x="1236" y="825"/>
                    </a:lnTo>
                    <a:lnTo>
                      <a:pt x="1206" y="864"/>
                    </a:lnTo>
                    <a:lnTo>
                      <a:pt x="1176" y="906"/>
                    </a:lnTo>
                    <a:lnTo>
                      <a:pt x="1122" y="918"/>
                    </a:lnTo>
                    <a:lnTo>
                      <a:pt x="1056" y="885"/>
                    </a:lnTo>
                    <a:lnTo>
                      <a:pt x="1017" y="900"/>
                    </a:lnTo>
                    <a:lnTo>
                      <a:pt x="975" y="921"/>
                    </a:lnTo>
                    <a:lnTo>
                      <a:pt x="966" y="951"/>
                    </a:lnTo>
                    <a:lnTo>
                      <a:pt x="915" y="960"/>
                    </a:lnTo>
                    <a:lnTo>
                      <a:pt x="888" y="975"/>
                    </a:lnTo>
                    <a:lnTo>
                      <a:pt x="696" y="996"/>
                    </a:lnTo>
                    <a:lnTo>
                      <a:pt x="654" y="996"/>
                    </a:lnTo>
                    <a:lnTo>
                      <a:pt x="606" y="1017"/>
                    </a:lnTo>
                    <a:lnTo>
                      <a:pt x="432" y="1086"/>
                    </a:lnTo>
                    <a:lnTo>
                      <a:pt x="384" y="1044"/>
                    </a:lnTo>
                    <a:lnTo>
                      <a:pt x="342" y="1047"/>
                    </a:lnTo>
                    <a:lnTo>
                      <a:pt x="306" y="1056"/>
                    </a:lnTo>
                    <a:lnTo>
                      <a:pt x="279" y="1047"/>
                    </a:lnTo>
                    <a:lnTo>
                      <a:pt x="231" y="1056"/>
                    </a:lnTo>
                    <a:lnTo>
                      <a:pt x="198" y="1047"/>
                    </a:lnTo>
                    <a:lnTo>
                      <a:pt x="174" y="1026"/>
                    </a:lnTo>
                    <a:lnTo>
                      <a:pt x="105" y="1020"/>
                    </a:lnTo>
                    <a:lnTo>
                      <a:pt x="93" y="975"/>
                    </a:lnTo>
                    <a:lnTo>
                      <a:pt x="57" y="945"/>
                    </a:lnTo>
                    <a:lnTo>
                      <a:pt x="48" y="915"/>
                    </a:lnTo>
                    <a:lnTo>
                      <a:pt x="42" y="798"/>
                    </a:lnTo>
                    <a:lnTo>
                      <a:pt x="6" y="732"/>
                    </a:lnTo>
                    <a:lnTo>
                      <a:pt x="0" y="642"/>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7" name="Freeform 8"/>
              <p:cNvSpPr>
                <a:spLocks/>
              </p:cNvSpPr>
              <p:nvPr/>
            </p:nvSpPr>
            <p:spPr bwMode="auto">
              <a:xfrm>
                <a:off x="1366" y="1323"/>
                <a:ext cx="644" cy="520"/>
              </a:xfrm>
              <a:custGeom>
                <a:avLst/>
                <a:gdLst>
                  <a:gd name="T0" fmla="*/ 0 w 1677"/>
                  <a:gd name="T1" fmla="*/ 0 h 1338"/>
                  <a:gd name="T2" fmla="*/ 0 w 1677"/>
                  <a:gd name="T3" fmla="*/ 0 h 1338"/>
                  <a:gd name="T4" fmla="*/ 0 w 1677"/>
                  <a:gd name="T5" fmla="*/ 0 h 1338"/>
                  <a:gd name="T6" fmla="*/ 0 w 1677"/>
                  <a:gd name="T7" fmla="*/ 0 h 1338"/>
                  <a:gd name="T8" fmla="*/ 0 w 1677"/>
                  <a:gd name="T9" fmla="*/ 0 h 1338"/>
                  <a:gd name="T10" fmla="*/ 0 w 1677"/>
                  <a:gd name="T11" fmla="*/ 0 h 1338"/>
                  <a:gd name="T12" fmla="*/ 0 w 1677"/>
                  <a:gd name="T13" fmla="*/ 0 h 1338"/>
                  <a:gd name="T14" fmla="*/ 0 w 1677"/>
                  <a:gd name="T15" fmla="*/ 0 h 1338"/>
                  <a:gd name="T16" fmla="*/ 0 w 1677"/>
                  <a:gd name="T17" fmla="*/ 0 h 1338"/>
                  <a:gd name="T18" fmla="*/ 0 w 1677"/>
                  <a:gd name="T19" fmla="*/ 0 h 1338"/>
                  <a:gd name="T20" fmla="*/ 0 w 1677"/>
                  <a:gd name="T21" fmla="*/ 0 h 1338"/>
                  <a:gd name="T22" fmla="*/ 0 w 1677"/>
                  <a:gd name="T23" fmla="*/ 0 h 1338"/>
                  <a:gd name="T24" fmla="*/ 0 w 1677"/>
                  <a:gd name="T25" fmla="*/ 0 h 1338"/>
                  <a:gd name="T26" fmla="*/ 0 w 1677"/>
                  <a:gd name="T27" fmla="*/ 0 h 1338"/>
                  <a:gd name="T28" fmla="*/ 0 w 1677"/>
                  <a:gd name="T29" fmla="*/ 0 h 1338"/>
                  <a:gd name="T30" fmla="*/ 0 w 1677"/>
                  <a:gd name="T31" fmla="*/ 0 h 1338"/>
                  <a:gd name="T32" fmla="*/ 0 w 1677"/>
                  <a:gd name="T33" fmla="*/ 0 h 1338"/>
                  <a:gd name="T34" fmla="*/ 0 w 1677"/>
                  <a:gd name="T35" fmla="*/ 0 h 1338"/>
                  <a:gd name="T36" fmla="*/ 0 w 1677"/>
                  <a:gd name="T37" fmla="*/ 0 h 1338"/>
                  <a:gd name="T38" fmla="*/ 0 w 1677"/>
                  <a:gd name="T39" fmla="*/ 0 h 1338"/>
                  <a:gd name="T40" fmla="*/ 0 w 1677"/>
                  <a:gd name="T41" fmla="*/ 0 h 1338"/>
                  <a:gd name="T42" fmla="*/ 0 w 1677"/>
                  <a:gd name="T43" fmla="*/ 0 h 1338"/>
                  <a:gd name="T44" fmla="*/ 0 w 1677"/>
                  <a:gd name="T45" fmla="*/ 0 h 1338"/>
                  <a:gd name="T46" fmla="*/ 0 w 1677"/>
                  <a:gd name="T47" fmla="*/ 0 h 1338"/>
                  <a:gd name="T48" fmla="*/ 0 w 1677"/>
                  <a:gd name="T49" fmla="*/ 0 h 1338"/>
                  <a:gd name="T50" fmla="*/ 0 w 1677"/>
                  <a:gd name="T51" fmla="*/ 0 h 1338"/>
                  <a:gd name="T52" fmla="*/ 0 w 1677"/>
                  <a:gd name="T53" fmla="*/ 0 h 1338"/>
                  <a:gd name="T54" fmla="*/ 0 w 1677"/>
                  <a:gd name="T55" fmla="*/ 0 h 1338"/>
                  <a:gd name="T56" fmla="*/ 0 w 1677"/>
                  <a:gd name="T57" fmla="*/ 0 h 1338"/>
                  <a:gd name="T58" fmla="*/ 0 w 1677"/>
                  <a:gd name="T59" fmla="*/ 0 h 1338"/>
                  <a:gd name="T60" fmla="*/ 0 w 1677"/>
                  <a:gd name="T61" fmla="*/ 0 h 1338"/>
                  <a:gd name="T62" fmla="*/ 0 w 1677"/>
                  <a:gd name="T63" fmla="*/ 0 h 1338"/>
                  <a:gd name="T64" fmla="*/ 0 w 1677"/>
                  <a:gd name="T65" fmla="*/ 0 h 1338"/>
                  <a:gd name="T66" fmla="*/ 0 w 1677"/>
                  <a:gd name="T67" fmla="*/ 0 h 1338"/>
                  <a:gd name="T68" fmla="*/ 0 w 1677"/>
                  <a:gd name="T69" fmla="*/ 0 h 1338"/>
                  <a:gd name="T70" fmla="*/ 0 w 1677"/>
                  <a:gd name="T71" fmla="*/ 0 h 1338"/>
                  <a:gd name="T72" fmla="*/ 0 w 1677"/>
                  <a:gd name="T73" fmla="*/ 0 h 1338"/>
                  <a:gd name="T74" fmla="*/ 0 w 1677"/>
                  <a:gd name="T75" fmla="*/ 0 h 1338"/>
                  <a:gd name="T76" fmla="*/ 0 w 1677"/>
                  <a:gd name="T77" fmla="*/ 0 h 1338"/>
                  <a:gd name="T78" fmla="*/ 0 w 1677"/>
                  <a:gd name="T79" fmla="*/ 0 h 1338"/>
                  <a:gd name="T80" fmla="*/ 0 w 1677"/>
                  <a:gd name="T81" fmla="*/ 0 h 1338"/>
                  <a:gd name="T82" fmla="*/ 0 w 1677"/>
                  <a:gd name="T83" fmla="*/ 0 h 1338"/>
                  <a:gd name="T84" fmla="*/ 0 w 1677"/>
                  <a:gd name="T85" fmla="*/ 0 h 1338"/>
                  <a:gd name="T86" fmla="*/ 0 w 1677"/>
                  <a:gd name="T87" fmla="*/ 0 h 1338"/>
                  <a:gd name="T88" fmla="*/ 0 w 1677"/>
                  <a:gd name="T89" fmla="*/ 0 h 1338"/>
                  <a:gd name="T90" fmla="*/ 0 w 1677"/>
                  <a:gd name="T91" fmla="*/ 0 h 1338"/>
                  <a:gd name="T92" fmla="*/ 0 w 1677"/>
                  <a:gd name="T93" fmla="*/ 0 h 1338"/>
                  <a:gd name="T94" fmla="*/ 0 w 1677"/>
                  <a:gd name="T95" fmla="*/ 0 h 1338"/>
                  <a:gd name="T96" fmla="*/ 0 w 1677"/>
                  <a:gd name="T97" fmla="*/ 0 h 1338"/>
                  <a:gd name="T98" fmla="*/ 0 w 1677"/>
                  <a:gd name="T99" fmla="*/ 0 h 1338"/>
                  <a:gd name="T100" fmla="*/ 0 w 1677"/>
                  <a:gd name="T101" fmla="*/ 0 h 1338"/>
                  <a:gd name="T102" fmla="*/ 0 w 1677"/>
                  <a:gd name="T103" fmla="*/ 0 h 1338"/>
                  <a:gd name="T104" fmla="*/ 0 w 1677"/>
                  <a:gd name="T105" fmla="*/ 0 h 1338"/>
                  <a:gd name="T106" fmla="*/ 0 w 1677"/>
                  <a:gd name="T107" fmla="*/ 0 h 1338"/>
                  <a:gd name="T108" fmla="*/ 0 w 1677"/>
                  <a:gd name="T109" fmla="*/ 0 h 1338"/>
                  <a:gd name="T110" fmla="*/ 0 w 1677"/>
                  <a:gd name="T111" fmla="*/ 0 h 1338"/>
                  <a:gd name="T112" fmla="*/ 0 w 1677"/>
                  <a:gd name="T113" fmla="*/ 0 h 1338"/>
                  <a:gd name="T114" fmla="*/ 0 w 1677"/>
                  <a:gd name="T115" fmla="*/ 0 h 1338"/>
                  <a:gd name="T116" fmla="*/ 0 w 1677"/>
                  <a:gd name="T117" fmla="*/ 0 h 1338"/>
                  <a:gd name="T118" fmla="*/ 0 w 1677"/>
                  <a:gd name="T119" fmla="*/ 0 h 1338"/>
                  <a:gd name="T120" fmla="*/ 0 w 1677"/>
                  <a:gd name="T121" fmla="*/ 0 h 1338"/>
                  <a:gd name="T122" fmla="*/ 0 w 1677"/>
                  <a:gd name="T123" fmla="*/ 0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77"/>
                  <a:gd name="T187" fmla="*/ 0 h 1338"/>
                  <a:gd name="T188" fmla="*/ 1677 w 1677"/>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77" h="1338">
                    <a:moveTo>
                      <a:pt x="1497" y="1173"/>
                    </a:moveTo>
                    <a:lnTo>
                      <a:pt x="1404" y="1185"/>
                    </a:lnTo>
                    <a:lnTo>
                      <a:pt x="1395" y="1161"/>
                    </a:lnTo>
                    <a:lnTo>
                      <a:pt x="1359" y="1179"/>
                    </a:lnTo>
                    <a:lnTo>
                      <a:pt x="1359" y="1227"/>
                    </a:lnTo>
                    <a:lnTo>
                      <a:pt x="1383" y="1230"/>
                    </a:lnTo>
                    <a:lnTo>
                      <a:pt x="1389" y="1338"/>
                    </a:lnTo>
                    <a:lnTo>
                      <a:pt x="1353" y="1323"/>
                    </a:lnTo>
                    <a:lnTo>
                      <a:pt x="1317" y="1290"/>
                    </a:lnTo>
                    <a:lnTo>
                      <a:pt x="1284" y="1206"/>
                    </a:lnTo>
                    <a:lnTo>
                      <a:pt x="1281" y="1137"/>
                    </a:lnTo>
                    <a:lnTo>
                      <a:pt x="1209" y="1125"/>
                    </a:lnTo>
                    <a:lnTo>
                      <a:pt x="1185" y="1140"/>
                    </a:lnTo>
                    <a:lnTo>
                      <a:pt x="1164" y="1128"/>
                    </a:lnTo>
                    <a:lnTo>
                      <a:pt x="1164" y="1107"/>
                    </a:lnTo>
                    <a:lnTo>
                      <a:pt x="1107" y="1062"/>
                    </a:lnTo>
                    <a:lnTo>
                      <a:pt x="1107" y="996"/>
                    </a:lnTo>
                    <a:lnTo>
                      <a:pt x="1068" y="993"/>
                    </a:lnTo>
                    <a:lnTo>
                      <a:pt x="1038" y="1029"/>
                    </a:lnTo>
                    <a:lnTo>
                      <a:pt x="996" y="1026"/>
                    </a:lnTo>
                    <a:lnTo>
                      <a:pt x="945" y="1017"/>
                    </a:lnTo>
                    <a:lnTo>
                      <a:pt x="873" y="1047"/>
                    </a:lnTo>
                    <a:lnTo>
                      <a:pt x="852" y="1080"/>
                    </a:lnTo>
                    <a:lnTo>
                      <a:pt x="810" y="1071"/>
                    </a:lnTo>
                    <a:lnTo>
                      <a:pt x="738" y="999"/>
                    </a:lnTo>
                    <a:lnTo>
                      <a:pt x="729" y="924"/>
                    </a:lnTo>
                    <a:lnTo>
                      <a:pt x="699" y="849"/>
                    </a:lnTo>
                    <a:lnTo>
                      <a:pt x="624" y="843"/>
                    </a:lnTo>
                    <a:lnTo>
                      <a:pt x="579" y="795"/>
                    </a:lnTo>
                    <a:lnTo>
                      <a:pt x="534" y="831"/>
                    </a:lnTo>
                    <a:lnTo>
                      <a:pt x="537" y="882"/>
                    </a:lnTo>
                    <a:lnTo>
                      <a:pt x="546" y="960"/>
                    </a:lnTo>
                    <a:lnTo>
                      <a:pt x="492" y="972"/>
                    </a:lnTo>
                    <a:lnTo>
                      <a:pt x="462" y="948"/>
                    </a:lnTo>
                    <a:lnTo>
                      <a:pt x="417" y="954"/>
                    </a:lnTo>
                    <a:lnTo>
                      <a:pt x="357" y="1008"/>
                    </a:lnTo>
                    <a:lnTo>
                      <a:pt x="351" y="1050"/>
                    </a:lnTo>
                    <a:lnTo>
                      <a:pt x="318" y="1074"/>
                    </a:lnTo>
                    <a:lnTo>
                      <a:pt x="273" y="1119"/>
                    </a:lnTo>
                    <a:lnTo>
                      <a:pt x="234" y="1119"/>
                    </a:lnTo>
                    <a:lnTo>
                      <a:pt x="210" y="1098"/>
                    </a:lnTo>
                    <a:lnTo>
                      <a:pt x="210" y="951"/>
                    </a:lnTo>
                    <a:lnTo>
                      <a:pt x="144" y="954"/>
                    </a:lnTo>
                    <a:lnTo>
                      <a:pt x="114" y="993"/>
                    </a:lnTo>
                    <a:lnTo>
                      <a:pt x="75" y="996"/>
                    </a:lnTo>
                    <a:lnTo>
                      <a:pt x="54" y="927"/>
                    </a:lnTo>
                    <a:lnTo>
                      <a:pt x="18" y="921"/>
                    </a:lnTo>
                    <a:lnTo>
                      <a:pt x="0" y="789"/>
                    </a:lnTo>
                    <a:lnTo>
                      <a:pt x="24" y="747"/>
                    </a:lnTo>
                    <a:lnTo>
                      <a:pt x="12" y="732"/>
                    </a:lnTo>
                    <a:lnTo>
                      <a:pt x="3" y="684"/>
                    </a:lnTo>
                    <a:lnTo>
                      <a:pt x="75" y="669"/>
                    </a:lnTo>
                    <a:lnTo>
                      <a:pt x="141" y="666"/>
                    </a:lnTo>
                    <a:lnTo>
                      <a:pt x="225" y="690"/>
                    </a:lnTo>
                    <a:lnTo>
                      <a:pt x="294" y="729"/>
                    </a:lnTo>
                    <a:lnTo>
                      <a:pt x="327" y="759"/>
                    </a:lnTo>
                    <a:lnTo>
                      <a:pt x="270" y="858"/>
                    </a:lnTo>
                    <a:lnTo>
                      <a:pt x="291" y="915"/>
                    </a:lnTo>
                    <a:lnTo>
                      <a:pt x="318" y="897"/>
                    </a:lnTo>
                    <a:lnTo>
                      <a:pt x="333" y="837"/>
                    </a:lnTo>
                    <a:lnTo>
                      <a:pt x="390" y="816"/>
                    </a:lnTo>
                    <a:lnTo>
                      <a:pt x="420" y="750"/>
                    </a:lnTo>
                    <a:lnTo>
                      <a:pt x="462" y="705"/>
                    </a:lnTo>
                    <a:lnTo>
                      <a:pt x="486" y="609"/>
                    </a:lnTo>
                    <a:lnTo>
                      <a:pt x="603" y="564"/>
                    </a:lnTo>
                    <a:lnTo>
                      <a:pt x="651" y="552"/>
                    </a:lnTo>
                    <a:lnTo>
                      <a:pt x="735" y="573"/>
                    </a:lnTo>
                    <a:lnTo>
                      <a:pt x="774" y="585"/>
                    </a:lnTo>
                    <a:lnTo>
                      <a:pt x="804" y="549"/>
                    </a:lnTo>
                    <a:lnTo>
                      <a:pt x="864" y="543"/>
                    </a:lnTo>
                    <a:lnTo>
                      <a:pt x="894" y="573"/>
                    </a:lnTo>
                    <a:lnTo>
                      <a:pt x="975" y="555"/>
                    </a:lnTo>
                    <a:lnTo>
                      <a:pt x="1032" y="489"/>
                    </a:lnTo>
                    <a:lnTo>
                      <a:pt x="1050" y="501"/>
                    </a:lnTo>
                    <a:lnTo>
                      <a:pt x="1074" y="453"/>
                    </a:lnTo>
                    <a:lnTo>
                      <a:pt x="1050" y="426"/>
                    </a:lnTo>
                    <a:lnTo>
                      <a:pt x="972" y="453"/>
                    </a:lnTo>
                    <a:lnTo>
                      <a:pt x="921" y="525"/>
                    </a:lnTo>
                    <a:lnTo>
                      <a:pt x="843" y="486"/>
                    </a:lnTo>
                    <a:lnTo>
                      <a:pt x="762" y="426"/>
                    </a:lnTo>
                    <a:lnTo>
                      <a:pt x="708" y="393"/>
                    </a:lnTo>
                    <a:lnTo>
                      <a:pt x="645" y="372"/>
                    </a:lnTo>
                    <a:lnTo>
                      <a:pt x="627" y="354"/>
                    </a:lnTo>
                    <a:lnTo>
                      <a:pt x="600" y="297"/>
                    </a:lnTo>
                    <a:lnTo>
                      <a:pt x="648" y="294"/>
                    </a:lnTo>
                    <a:lnTo>
                      <a:pt x="669" y="312"/>
                    </a:lnTo>
                    <a:lnTo>
                      <a:pt x="780" y="279"/>
                    </a:lnTo>
                    <a:lnTo>
                      <a:pt x="852" y="282"/>
                    </a:lnTo>
                    <a:lnTo>
                      <a:pt x="882" y="225"/>
                    </a:lnTo>
                    <a:lnTo>
                      <a:pt x="750" y="36"/>
                    </a:lnTo>
                    <a:lnTo>
                      <a:pt x="756" y="15"/>
                    </a:lnTo>
                    <a:lnTo>
                      <a:pt x="819" y="0"/>
                    </a:lnTo>
                    <a:lnTo>
                      <a:pt x="894" y="3"/>
                    </a:lnTo>
                    <a:lnTo>
                      <a:pt x="915" y="36"/>
                    </a:lnTo>
                    <a:lnTo>
                      <a:pt x="1095" y="144"/>
                    </a:lnTo>
                    <a:lnTo>
                      <a:pt x="1137" y="222"/>
                    </a:lnTo>
                    <a:lnTo>
                      <a:pt x="1233" y="267"/>
                    </a:lnTo>
                    <a:lnTo>
                      <a:pt x="1290" y="333"/>
                    </a:lnTo>
                    <a:lnTo>
                      <a:pt x="1470" y="372"/>
                    </a:lnTo>
                    <a:lnTo>
                      <a:pt x="1503" y="357"/>
                    </a:lnTo>
                    <a:lnTo>
                      <a:pt x="1632" y="387"/>
                    </a:lnTo>
                    <a:lnTo>
                      <a:pt x="1644" y="444"/>
                    </a:lnTo>
                    <a:lnTo>
                      <a:pt x="1677" y="456"/>
                    </a:lnTo>
                    <a:lnTo>
                      <a:pt x="1653" y="558"/>
                    </a:lnTo>
                    <a:lnTo>
                      <a:pt x="1593" y="735"/>
                    </a:lnTo>
                    <a:lnTo>
                      <a:pt x="1536" y="717"/>
                    </a:lnTo>
                    <a:lnTo>
                      <a:pt x="1467" y="726"/>
                    </a:lnTo>
                    <a:cubicBezTo>
                      <a:pt x="1437" y="721"/>
                      <a:pt x="1406" y="719"/>
                      <a:pt x="1377" y="711"/>
                    </a:cubicBezTo>
                    <a:cubicBezTo>
                      <a:pt x="1364" y="707"/>
                      <a:pt x="1364" y="688"/>
                      <a:pt x="1356" y="678"/>
                    </a:cubicBezTo>
                    <a:cubicBezTo>
                      <a:pt x="1348" y="669"/>
                      <a:pt x="1332" y="651"/>
                      <a:pt x="1332" y="651"/>
                    </a:cubicBezTo>
                    <a:lnTo>
                      <a:pt x="1224" y="549"/>
                    </a:lnTo>
                    <a:lnTo>
                      <a:pt x="1089" y="462"/>
                    </a:lnTo>
                    <a:lnTo>
                      <a:pt x="1074" y="510"/>
                    </a:lnTo>
                    <a:lnTo>
                      <a:pt x="1158" y="588"/>
                    </a:lnTo>
                    <a:lnTo>
                      <a:pt x="1200" y="612"/>
                    </a:lnTo>
                    <a:lnTo>
                      <a:pt x="1269" y="690"/>
                    </a:lnTo>
                    <a:lnTo>
                      <a:pt x="1350" y="753"/>
                    </a:lnTo>
                    <a:lnTo>
                      <a:pt x="1461" y="783"/>
                    </a:lnTo>
                    <a:lnTo>
                      <a:pt x="1527" y="759"/>
                    </a:lnTo>
                    <a:lnTo>
                      <a:pt x="1551" y="780"/>
                    </a:lnTo>
                    <a:lnTo>
                      <a:pt x="1521" y="807"/>
                    </a:lnTo>
                    <a:lnTo>
                      <a:pt x="1533" y="852"/>
                    </a:lnTo>
                    <a:lnTo>
                      <a:pt x="1491" y="939"/>
                    </a:lnTo>
                    <a:lnTo>
                      <a:pt x="1497" y="1173"/>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8" name="Freeform 9"/>
              <p:cNvSpPr>
                <a:spLocks/>
              </p:cNvSpPr>
              <p:nvPr/>
            </p:nvSpPr>
            <p:spPr bwMode="auto">
              <a:xfrm>
                <a:off x="1222" y="1569"/>
                <a:ext cx="314" cy="488"/>
              </a:xfrm>
              <a:custGeom>
                <a:avLst/>
                <a:gdLst>
                  <a:gd name="T0" fmla="*/ 0 w 816"/>
                  <a:gd name="T1" fmla="*/ 0 h 1254"/>
                  <a:gd name="T2" fmla="*/ 0 w 816"/>
                  <a:gd name="T3" fmla="*/ 0 h 1254"/>
                  <a:gd name="T4" fmla="*/ 0 w 816"/>
                  <a:gd name="T5" fmla="*/ 0 h 1254"/>
                  <a:gd name="T6" fmla="*/ 0 w 816"/>
                  <a:gd name="T7" fmla="*/ 0 h 1254"/>
                  <a:gd name="T8" fmla="*/ 0 w 816"/>
                  <a:gd name="T9" fmla="*/ 0 h 1254"/>
                  <a:gd name="T10" fmla="*/ 0 w 816"/>
                  <a:gd name="T11" fmla="*/ 0 h 1254"/>
                  <a:gd name="T12" fmla="*/ 0 w 816"/>
                  <a:gd name="T13" fmla="*/ 0 h 1254"/>
                  <a:gd name="T14" fmla="*/ 0 w 816"/>
                  <a:gd name="T15" fmla="*/ 0 h 1254"/>
                  <a:gd name="T16" fmla="*/ 0 w 816"/>
                  <a:gd name="T17" fmla="*/ 0 h 1254"/>
                  <a:gd name="T18" fmla="*/ 0 w 816"/>
                  <a:gd name="T19" fmla="*/ 0 h 1254"/>
                  <a:gd name="T20" fmla="*/ 0 w 816"/>
                  <a:gd name="T21" fmla="*/ 0 h 1254"/>
                  <a:gd name="T22" fmla="*/ 0 w 816"/>
                  <a:gd name="T23" fmla="*/ 0 h 1254"/>
                  <a:gd name="T24" fmla="*/ 0 w 816"/>
                  <a:gd name="T25" fmla="*/ 0 h 1254"/>
                  <a:gd name="T26" fmla="*/ 0 w 816"/>
                  <a:gd name="T27" fmla="*/ 0 h 1254"/>
                  <a:gd name="T28" fmla="*/ 0 w 816"/>
                  <a:gd name="T29" fmla="*/ 0 h 1254"/>
                  <a:gd name="T30" fmla="*/ 0 w 816"/>
                  <a:gd name="T31" fmla="*/ 0 h 1254"/>
                  <a:gd name="T32" fmla="*/ 0 w 816"/>
                  <a:gd name="T33" fmla="*/ 0 h 1254"/>
                  <a:gd name="T34" fmla="*/ 0 w 816"/>
                  <a:gd name="T35" fmla="*/ 0 h 1254"/>
                  <a:gd name="T36" fmla="*/ 0 w 816"/>
                  <a:gd name="T37" fmla="*/ 0 h 1254"/>
                  <a:gd name="T38" fmla="*/ 0 w 816"/>
                  <a:gd name="T39" fmla="*/ 0 h 1254"/>
                  <a:gd name="T40" fmla="*/ 0 w 816"/>
                  <a:gd name="T41" fmla="*/ 0 h 1254"/>
                  <a:gd name="T42" fmla="*/ 0 w 816"/>
                  <a:gd name="T43" fmla="*/ 0 h 1254"/>
                  <a:gd name="T44" fmla="*/ 0 w 816"/>
                  <a:gd name="T45" fmla="*/ 0 h 1254"/>
                  <a:gd name="T46" fmla="*/ 0 w 816"/>
                  <a:gd name="T47" fmla="*/ 0 h 1254"/>
                  <a:gd name="T48" fmla="*/ 0 w 816"/>
                  <a:gd name="T49" fmla="*/ 0 h 1254"/>
                  <a:gd name="T50" fmla="*/ 0 w 816"/>
                  <a:gd name="T51" fmla="*/ 0 h 1254"/>
                  <a:gd name="T52" fmla="*/ 0 w 816"/>
                  <a:gd name="T53" fmla="*/ 0 h 1254"/>
                  <a:gd name="T54" fmla="*/ 0 w 816"/>
                  <a:gd name="T55" fmla="*/ 0 h 1254"/>
                  <a:gd name="T56" fmla="*/ 0 w 816"/>
                  <a:gd name="T57" fmla="*/ 0 h 1254"/>
                  <a:gd name="T58" fmla="*/ 0 w 816"/>
                  <a:gd name="T59" fmla="*/ 0 h 1254"/>
                  <a:gd name="T60" fmla="*/ 0 w 816"/>
                  <a:gd name="T61" fmla="*/ 0 h 1254"/>
                  <a:gd name="T62" fmla="*/ 0 w 816"/>
                  <a:gd name="T63" fmla="*/ 0 h 1254"/>
                  <a:gd name="T64" fmla="*/ 0 w 816"/>
                  <a:gd name="T65" fmla="*/ 0 h 1254"/>
                  <a:gd name="T66" fmla="*/ 0 w 816"/>
                  <a:gd name="T67" fmla="*/ 0 h 1254"/>
                  <a:gd name="T68" fmla="*/ 0 w 816"/>
                  <a:gd name="T69" fmla="*/ 0 h 1254"/>
                  <a:gd name="T70" fmla="*/ 0 w 816"/>
                  <a:gd name="T71" fmla="*/ 0 h 1254"/>
                  <a:gd name="T72" fmla="*/ 0 w 816"/>
                  <a:gd name="T73" fmla="*/ 0 h 12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16"/>
                  <a:gd name="T112" fmla="*/ 0 h 1254"/>
                  <a:gd name="T113" fmla="*/ 816 w 816"/>
                  <a:gd name="T114" fmla="*/ 1254 h 12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16" h="1254">
                    <a:moveTo>
                      <a:pt x="759" y="1119"/>
                    </a:moveTo>
                    <a:lnTo>
                      <a:pt x="780" y="1059"/>
                    </a:lnTo>
                    <a:lnTo>
                      <a:pt x="720" y="1005"/>
                    </a:lnTo>
                    <a:lnTo>
                      <a:pt x="714" y="960"/>
                    </a:lnTo>
                    <a:lnTo>
                      <a:pt x="600" y="915"/>
                    </a:lnTo>
                    <a:lnTo>
                      <a:pt x="690" y="756"/>
                    </a:lnTo>
                    <a:lnTo>
                      <a:pt x="717" y="744"/>
                    </a:lnTo>
                    <a:lnTo>
                      <a:pt x="786" y="750"/>
                    </a:lnTo>
                    <a:lnTo>
                      <a:pt x="798" y="720"/>
                    </a:lnTo>
                    <a:lnTo>
                      <a:pt x="783" y="684"/>
                    </a:lnTo>
                    <a:lnTo>
                      <a:pt x="816" y="540"/>
                    </a:lnTo>
                    <a:lnTo>
                      <a:pt x="750" y="483"/>
                    </a:lnTo>
                    <a:lnTo>
                      <a:pt x="717" y="480"/>
                    </a:lnTo>
                    <a:lnTo>
                      <a:pt x="696" y="441"/>
                    </a:lnTo>
                    <a:lnTo>
                      <a:pt x="648" y="483"/>
                    </a:lnTo>
                    <a:lnTo>
                      <a:pt x="615" y="483"/>
                    </a:lnTo>
                    <a:lnTo>
                      <a:pt x="582" y="462"/>
                    </a:lnTo>
                    <a:lnTo>
                      <a:pt x="582" y="318"/>
                    </a:lnTo>
                    <a:lnTo>
                      <a:pt x="522" y="321"/>
                    </a:lnTo>
                    <a:lnTo>
                      <a:pt x="492" y="357"/>
                    </a:lnTo>
                    <a:lnTo>
                      <a:pt x="450" y="363"/>
                    </a:lnTo>
                    <a:lnTo>
                      <a:pt x="429" y="294"/>
                    </a:lnTo>
                    <a:lnTo>
                      <a:pt x="387" y="282"/>
                    </a:lnTo>
                    <a:lnTo>
                      <a:pt x="378" y="147"/>
                    </a:lnTo>
                    <a:lnTo>
                      <a:pt x="396" y="108"/>
                    </a:lnTo>
                    <a:lnTo>
                      <a:pt x="381" y="96"/>
                    </a:lnTo>
                    <a:lnTo>
                      <a:pt x="372" y="51"/>
                    </a:lnTo>
                    <a:lnTo>
                      <a:pt x="291" y="72"/>
                    </a:lnTo>
                    <a:lnTo>
                      <a:pt x="231" y="99"/>
                    </a:lnTo>
                    <a:lnTo>
                      <a:pt x="210" y="78"/>
                    </a:lnTo>
                    <a:lnTo>
                      <a:pt x="234" y="48"/>
                    </a:lnTo>
                    <a:lnTo>
                      <a:pt x="180" y="9"/>
                    </a:lnTo>
                    <a:lnTo>
                      <a:pt x="99" y="15"/>
                    </a:lnTo>
                    <a:lnTo>
                      <a:pt x="69" y="0"/>
                    </a:lnTo>
                    <a:lnTo>
                      <a:pt x="15" y="18"/>
                    </a:lnTo>
                    <a:lnTo>
                      <a:pt x="33" y="48"/>
                    </a:lnTo>
                    <a:lnTo>
                      <a:pt x="93" y="90"/>
                    </a:lnTo>
                    <a:lnTo>
                      <a:pt x="159" y="114"/>
                    </a:lnTo>
                    <a:lnTo>
                      <a:pt x="198" y="96"/>
                    </a:lnTo>
                    <a:lnTo>
                      <a:pt x="216" y="111"/>
                    </a:lnTo>
                    <a:lnTo>
                      <a:pt x="213" y="156"/>
                    </a:lnTo>
                    <a:lnTo>
                      <a:pt x="165" y="183"/>
                    </a:lnTo>
                    <a:lnTo>
                      <a:pt x="132" y="216"/>
                    </a:lnTo>
                    <a:lnTo>
                      <a:pt x="87" y="297"/>
                    </a:lnTo>
                    <a:lnTo>
                      <a:pt x="18" y="384"/>
                    </a:lnTo>
                    <a:lnTo>
                      <a:pt x="0" y="408"/>
                    </a:lnTo>
                    <a:lnTo>
                      <a:pt x="12" y="468"/>
                    </a:lnTo>
                    <a:lnTo>
                      <a:pt x="87" y="513"/>
                    </a:lnTo>
                    <a:lnTo>
                      <a:pt x="75" y="603"/>
                    </a:lnTo>
                    <a:lnTo>
                      <a:pt x="21" y="714"/>
                    </a:lnTo>
                    <a:lnTo>
                      <a:pt x="42" y="771"/>
                    </a:lnTo>
                    <a:lnTo>
                      <a:pt x="54" y="834"/>
                    </a:lnTo>
                    <a:lnTo>
                      <a:pt x="132" y="897"/>
                    </a:lnTo>
                    <a:lnTo>
                      <a:pt x="138" y="933"/>
                    </a:lnTo>
                    <a:lnTo>
                      <a:pt x="105" y="972"/>
                    </a:lnTo>
                    <a:lnTo>
                      <a:pt x="84" y="1026"/>
                    </a:lnTo>
                    <a:lnTo>
                      <a:pt x="12" y="1092"/>
                    </a:lnTo>
                    <a:lnTo>
                      <a:pt x="9" y="1122"/>
                    </a:lnTo>
                    <a:lnTo>
                      <a:pt x="15" y="1161"/>
                    </a:lnTo>
                    <a:lnTo>
                      <a:pt x="93" y="1140"/>
                    </a:lnTo>
                    <a:lnTo>
                      <a:pt x="123" y="1101"/>
                    </a:lnTo>
                    <a:lnTo>
                      <a:pt x="180" y="1083"/>
                    </a:lnTo>
                    <a:lnTo>
                      <a:pt x="246" y="1089"/>
                    </a:lnTo>
                    <a:lnTo>
                      <a:pt x="264" y="1152"/>
                    </a:lnTo>
                    <a:lnTo>
                      <a:pt x="333" y="1161"/>
                    </a:lnTo>
                    <a:lnTo>
                      <a:pt x="393" y="1197"/>
                    </a:lnTo>
                    <a:lnTo>
                      <a:pt x="429" y="1230"/>
                    </a:lnTo>
                    <a:lnTo>
                      <a:pt x="474" y="1254"/>
                    </a:lnTo>
                    <a:lnTo>
                      <a:pt x="513" y="1173"/>
                    </a:lnTo>
                    <a:lnTo>
                      <a:pt x="585" y="1167"/>
                    </a:lnTo>
                    <a:lnTo>
                      <a:pt x="615" y="1221"/>
                    </a:lnTo>
                    <a:lnTo>
                      <a:pt x="693" y="1215"/>
                    </a:lnTo>
                    <a:lnTo>
                      <a:pt x="687" y="1092"/>
                    </a:lnTo>
                    <a:lnTo>
                      <a:pt x="759" y="1119"/>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9" name="Freeform 10"/>
              <p:cNvSpPr>
                <a:spLocks/>
              </p:cNvSpPr>
              <p:nvPr/>
            </p:nvSpPr>
            <p:spPr bwMode="auto">
              <a:xfrm>
                <a:off x="1455" y="1631"/>
                <a:ext cx="450" cy="404"/>
              </a:xfrm>
              <a:custGeom>
                <a:avLst/>
                <a:gdLst>
                  <a:gd name="T0" fmla="*/ 0 w 1173"/>
                  <a:gd name="T1" fmla="*/ 0 h 1038"/>
                  <a:gd name="T2" fmla="*/ 0 w 1173"/>
                  <a:gd name="T3" fmla="*/ 0 h 1038"/>
                  <a:gd name="T4" fmla="*/ 0 w 1173"/>
                  <a:gd name="T5" fmla="*/ 0 h 1038"/>
                  <a:gd name="T6" fmla="*/ 0 w 1173"/>
                  <a:gd name="T7" fmla="*/ 0 h 1038"/>
                  <a:gd name="T8" fmla="*/ 0 w 1173"/>
                  <a:gd name="T9" fmla="*/ 0 h 1038"/>
                  <a:gd name="T10" fmla="*/ 0 w 1173"/>
                  <a:gd name="T11" fmla="*/ 0 h 1038"/>
                  <a:gd name="T12" fmla="*/ 0 w 1173"/>
                  <a:gd name="T13" fmla="*/ 0 h 1038"/>
                  <a:gd name="T14" fmla="*/ 0 w 1173"/>
                  <a:gd name="T15" fmla="*/ 0 h 1038"/>
                  <a:gd name="T16" fmla="*/ 0 w 1173"/>
                  <a:gd name="T17" fmla="*/ 0 h 1038"/>
                  <a:gd name="T18" fmla="*/ 0 w 1173"/>
                  <a:gd name="T19" fmla="*/ 0 h 1038"/>
                  <a:gd name="T20" fmla="*/ 0 w 1173"/>
                  <a:gd name="T21" fmla="*/ 0 h 1038"/>
                  <a:gd name="T22" fmla="*/ 0 w 1173"/>
                  <a:gd name="T23" fmla="*/ 0 h 1038"/>
                  <a:gd name="T24" fmla="*/ 0 w 1173"/>
                  <a:gd name="T25" fmla="*/ 0 h 1038"/>
                  <a:gd name="T26" fmla="*/ 0 w 1173"/>
                  <a:gd name="T27" fmla="*/ 0 h 1038"/>
                  <a:gd name="T28" fmla="*/ 0 w 1173"/>
                  <a:gd name="T29" fmla="*/ 0 h 1038"/>
                  <a:gd name="T30" fmla="*/ 0 w 1173"/>
                  <a:gd name="T31" fmla="*/ 0 h 1038"/>
                  <a:gd name="T32" fmla="*/ 0 w 1173"/>
                  <a:gd name="T33" fmla="*/ 0 h 1038"/>
                  <a:gd name="T34" fmla="*/ 0 w 1173"/>
                  <a:gd name="T35" fmla="*/ 0 h 1038"/>
                  <a:gd name="T36" fmla="*/ 0 w 1173"/>
                  <a:gd name="T37" fmla="*/ 0 h 1038"/>
                  <a:gd name="T38" fmla="*/ 0 w 1173"/>
                  <a:gd name="T39" fmla="*/ 0 h 1038"/>
                  <a:gd name="T40" fmla="*/ 0 w 1173"/>
                  <a:gd name="T41" fmla="*/ 0 h 1038"/>
                  <a:gd name="T42" fmla="*/ 0 w 1173"/>
                  <a:gd name="T43" fmla="*/ 0 h 1038"/>
                  <a:gd name="T44" fmla="*/ 0 w 1173"/>
                  <a:gd name="T45" fmla="*/ 0 h 1038"/>
                  <a:gd name="T46" fmla="*/ 0 w 1173"/>
                  <a:gd name="T47" fmla="*/ 0 h 1038"/>
                  <a:gd name="T48" fmla="*/ 0 w 1173"/>
                  <a:gd name="T49" fmla="*/ 0 h 1038"/>
                  <a:gd name="T50" fmla="*/ 0 w 1173"/>
                  <a:gd name="T51" fmla="*/ 0 h 1038"/>
                  <a:gd name="T52" fmla="*/ 0 w 1173"/>
                  <a:gd name="T53" fmla="*/ 0 h 1038"/>
                  <a:gd name="T54" fmla="*/ 0 w 1173"/>
                  <a:gd name="T55" fmla="*/ 0 h 1038"/>
                  <a:gd name="T56" fmla="*/ 0 w 1173"/>
                  <a:gd name="T57" fmla="*/ 0 h 1038"/>
                  <a:gd name="T58" fmla="*/ 0 w 1173"/>
                  <a:gd name="T59" fmla="*/ 0 h 1038"/>
                  <a:gd name="T60" fmla="*/ 0 w 1173"/>
                  <a:gd name="T61" fmla="*/ 0 h 1038"/>
                  <a:gd name="T62" fmla="*/ 0 w 1173"/>
                  <a:gd name="T63" fmla="*/ 0 h 1038"/>
                  <a:gd name="T64" fmla="*/ 0 w 1173"/>
                  <a:gd name="T65" fmla="*/ 0 h 1038"/>
                  <a:gd name="T66" fmla="*/ 0 w 1173"/>
                  <a:gd name="T67" fmla="*/ 0 h 1038"/>
                  <a:gd name="T68" fmla="*/ 0 w 1173"/>
                  <a:gd name="T69" fmla="*/ 0 h 1038"/>
                  <a:gd name="T70" fmla="*/ 0 w 1173"/>
                  <a:gd name="T71" fmla="*/ 0 h 1038"/>
                  <a:gd name="T72" fmla="*/ 0 w 1173"/>
                  <a:gd name="T73" fmla="*/ 0 h 10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73"/>
                  <a:gd name="T112" fmla="*/ 0 h 1038"/>
                  <a:gd name="T113" fmla="*/ 1173 w 1173"/>
                  <a:gd name="T114" fmla="*/ 1038 h 10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73" h="1038">
                    <a:moveTo>
                      <a:pt x="324" y="1038"/>
                    </a:moveTo>
                    <a:lnTo>
                      <a:pt x="255" y="1038"/>
                    </a:lnTo>
                    <a:lnTo>
                      <a:pt x="216" y="1020"/>
                    </a:lnTo>
                    <a:lnTo>
                      <a:pt x="198" y="981"/>
                    </a:lnTo>
                    <a:lnTo>
                      <a:pt x="150" y="957"/>
                    </a:lnTo>
                    <a:lnTo>
                      <a:pt x="174" y="897"/>
                    </a:lnTo>
                    <a:lnTo>
                      <a:pt x="108" y="846"/>
                    </a:lnTo>
                    <a:lnTo>
                      <a:pt x="111" y="798"/>
                    </a:lnTo>
                    <a:lnTo>
                      <a:pt x="0" y="753"/>
                    </a:lnTo>
                    <a:lnTo>
                      <a:pt x="81" y="594"/>
                    </a:lnTo>
                    <a:lnTo>
                      <a:pt x="105" y="582"/>
                    </a:lnTo>
                    <a:lnTo>
                      <a:pt x="177" y="585"/>
                    </a:lnTo>
                    <a:lnTo>
                      <a:pt x="192" y="558"/>
                    </a:lnTo>
                    <a:lnTo>
                      <a:pt x="177" y="531"/>
                    </a:lnTo>
                    <a:lnTo>
                      <a:pt x="207" y="375"/>
                    </a:lnTo>
                    <a:lnTo>
                      <a:pt x="144" y="324"/>
                    </a:lnTo>
                    <a:lnTo>
                      <a:pt x="105" y="315"/>
                    </a:lnTo>
                    <a:lnTo>
                      <a:pt x="84" y="288"/>
                    </a:lnTo>
                    <a:lnTo>
                      <a:pt x="120" y="252"/>
                    </a:lnTo>
                    <a:lnTo>
                      <a:pt x="120" y="219"/>
                    </a:lnTo>
                    <a:lnTo>
                      <a:pt x="189" y="156"/>
                    </a:lnTo>
                    <a:lnTo>
                      <a:pt x="231" y="153"/>
                    </a:lnTo>
                    <a:lnTo>
                      <a:pt x="258" y="174"/>
                    </a:lnTo>
                    <a:lnTo>
                      <a:pt x="312" y="171"/>
                    </a:lnTo>
                    <a:lnTo>
                      <a:pt x="306" y="39"/>
                    </a:lnTo>
                    <a:lnTo>
                      <a:pt x="345" y="0"/>
                    </a:lnTo>
                    <a:lnTo>
                      <a:pt x="390" y="45"/>
                    </a:lnTo>
                    <a:lnTo>
                      <a:pt x="459" y="54"/>
                    </a:lnTo>
                    <a:lnTo>
                      <a:pt x="501" y="132"/>
                    </a:lnTo>
                    <a:lnTo>
                      <a:pt x="507" y="204"/>
                    </a:lnTo>
                    <a:lnTo>
                      <a:pt x="579" y="285"/>
                    </a:lnTo>
                    <a:lnTo>
                      <a:pt x="618" y="279"/>
                    </a:lnTo>
                    <a:lnTo>
                      <a:pt x="636" y="255"/>
                    </a:lnTo>
                    <a:lnTo>
                      <a:pt x="708" y="225"/>
                    </a:lnTo>
                    <a:lnTo>
                      <a:pt x="810" y="240"/>
                    </a:lnTo>
                    <a:lnTo>
                      <a:pt x="834" y="198"/>
                    </a:lnTo>
                    <a:lnTo>
                      <a:pt x="873" y="207"/>
                    </a:lnTo>
                    <a:lnTo>
                      <a:pt x="876" y="273"/>
                    </a:lnTo>
                    <a:lnTo>
                      <a:pt x="930" y="315"/>
                    </a:lnTo>
                    <a:lnTo>
                      <a:pt x="933" y="339"/>
                    </a:lnTo>
                    <a:lnTo>
                      <a:pt x="963" y="357"/>
                    </a:lnTo>
                    <a:lnTo>
                      <a:pt x="975" y="336"/>
                    </a:lnTo>
                    <a:lnTo>
                      <a:pt x="1047" y="342"/>
                    </a:lnTo>
                    <a:lnTo>
                      <a:pt x="1053" y="414"/>
                    </a:lnTo>
                    <a:lnTo>
                      <a:pt x="1089" y="504"/>
                    </a:lnTo>
                    <a:lnTo>
                      <a:pt x="1128" y="543"/>
                    </a:lnTo>
                    <a:lnTo>
                      <a:pt x="1158" y="546"/>
                    </a:lnTo>
                    <a:lnTo>
                      <a:pt x="1173" y="573"/>
                    </a:lnTo>
                    <a:lnTo>
                      <a:pt x="1161" y="600"/>
                    </a:lnTo>
                    <a:lnTo>
                      <a:pt x="1125" y="585"/>
                    </a:lnTo>
                    <a:lnTo>
                      <a:pt x="1095" y="582"/>
                    </a:lnTo>
                    <a:lnTo>
                      <a:pt x="996" y="678"/>
                    </a:lnTo>
                    <a:lnTo>
                      <a:pt x="921" y="702"/>
                    </a:lnTo>
                    <a:lnTo>
                      <a:pt x="882" y="690"/>
                    </a:lnTo>
                    <a:lnTo>
                      <a:pt x="882" y="657"/>
                    </a:lnTo>
                    <a:lnTo>
                      <a:pt x="876" y="591"/>
                    </a:lnTo>
                    <a:lnTo>
                      <a:pt x="792" y="594"/>
                    </a:lnTo>
                    <a:lnTo>
                      <a:pt x="729" y="588"/>
                    </a:lnTo>
                    <a:lnTo>
                      <a:pt x="690" y="546"/>
                    </a:lnTo>
                    <a:lnTo>
                      <a:pt x="663" y="546"/>
                    </a:lnTo>
                    <a:lnTo>
                      <a:pt x="642" y="579"/>
                    </a:lnTo>
                    <a:lnTo>
                      <a:pt x="534" y="567"/>
                    </a:lnTo>
                    <a:lnTo>
                      <a:pt x="456" y="543"/>
                    </a:lnTo>
                    <a:lnTo>
                      <a:pt x="420" y="597"/>
                    </a:lnTo>
                    <a:lnTo>
                      <a:pt x="444" y="636"/>
                    </a:lnTo>
                    <a:lnTo>
                      <a:pt x="414" y="657"/>
                    </a:lnTo>
                    <a:lnTo>
                      <a:pt x="420" y="699"/>
                    </a:lnTo>
                    <a:lnTo>
                      <a:pt x="474" y="741"/>
                    </a:lnTo>
                    <a:lnTo>
                      <a:pt x="462" y="789"/>
                    </a:lnTo>
                    <a:lnTo>
                      <a:pt x="402" y="783"/>
                    </a:lnTo>
                    <a:lnTo>
                      <a:pt x="381" y="819"/>
                    </a:lnTo>
                    <a:lnTo>
                      <a:pt x="381" y="849"/>
                    </a:lnTo>
                    <a:lnTo>
                      <a:pt x="342" y="894"/>
                    </a:lnTo>
                    <a:lnTo>
                      <a:pt x="315" y="951"/>
                    </a:lnTo>
                    <a:lnTo>
                      <a:pt x="324" y="1038"/>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90" name="Freeform 11"/>
              <p:cNvSpPr>
                <a:spLocks/>
              </p:cNvSpPr>
              <p:nvPr/>
            </p:nvSpPr>
            <p:spPr bwMode="auto">
              <a:xfrm>
                <a:off x="604" y="1414"/>
                <a:ext cx="584" cy="603"/>
              </a:xfrm>
              <a:custGeom>
                <a:avLst/>
                <a:gdLst>
                  <a:gd name="T0" fmla="*/ 0 w 1520"/>
                  <a:gd name="T1" fmla="*/ 0 h 1552"/>
                  <a:gd name="T2" fmla="*/ 0 w 1520"/>
                  <a:gd name="T3" fmla="*/ 0 h 1552"/>
                  <a:gd name="T4" fmla="*/ 0 w 1520"/>
                  <a:gd name="T5" fmla="*/ 0 h 1552"/>
                  <a:gd name="T6" fmla="*/ 0 w 1520"/>
                  <a:gd name="T7" fmla="*/ 0 h 1552"/>
                  <a:gd name="T8" fmla="*/ 0 w 1520"/>
                  <a:gd name="T9" fmla="*/ 0 h 1552"/>
                  <a:gd name="T10" fmla="*/ 0 w 1520"/>
                  <a:gd name="T11" fmla="*/ 0 h 1552"/>
                  <a:gd name="T12" fmla="*/ 0 w 1520"/>
                  <a:gd name="T13" fmla="*/ 0 h 1552"/>
                  <a:gd name="T14" fmla="*/ 0 w 1520"/>
                  <a:gd name="T15" fmla="*/ 0 h 1552"/>
                  <a:gd name="T16" fmla="*/ 0 w 1520"/>
                  <a:gd name="T17" fmla="*/ 0 h 1552"/>
                  <a:gd name="T18" fmla="*/ 0 w 1520"/>
                  <a:gd name="T19" fmla="*/ 0 h 1552"/>
                  <a:gd name="T20" fmla="*/ 0 w 1520"/>
                  <a:gd name="T21" fmla="*/ 0 h 1552"/>
                  <a:gd name="T22" fmla="*/ 0 w 1520"/>
                  <a:gd name="T23" fmla="*/ 0 h 1552"/>
                  <a:gd name="T24" fmla="*/ 0 w 1520"/>
                  <a:gd name="T25" fmla="*/ 0 h 1552"/>
                  <a:gd name="T26" fmla="*/ 0 w 1520"/>
                  <a:gd name="T27" fmla="*/ 0 h 1552"/>
                  <a:gd name="T28" fmla="*/ 0 w 1520"/>
                  <a:gd name="T29" fmla="*/ 0 h 1552"/>
                  <a:gd name="T30" fmla="*/ 0 w 1520"/>
                  <a:gd name="T31" fmla="*/ 0 h 1552"/>
                  <a:gd name="T32" fmla="*/ 0 w 1520"/>
                  <a:gd name="T33" fmla="*/ 0 h 1552"/>
                  <a:gd name="T34" fmla="*/ 0 w 1520"/>
                  <a:gd name="T35" fmla="*/ 0 h 1552"/>
                  <a:gd name="T36" fmla="*/ 0 w 1520"/>
                  <a:gd name="T37" fmla="*/ 0 h 1552"/>
                  <a:gd name="T38" fmla="*/ 0 w 1520"/>
                  <a:gd name="T39" fmla="*/ 0 h 1552"/>
                  <a:gd name="T40" fmla="*/ 0 w 1520"/>
                  <a:gd name="T41" fmla="*/ 0 h 1552"/>
                  <a:gd name="T42" fmla="*/ 0 w 1520"/>
                  <a:gd name="T43" fmla="*/ 0 h 1552"/>
                  <a:gd name="T44" fmla="*/ 0 w 1520"/>
                  <a:gd name="T45" fmla="*/ 0 h 1552"/>
                  <a:gd name="T46" fmla="*/ 0 w 1520"/>
                  <a:gd name="T47" fmla="*/ 0 h 1552"/>
                  <a:gd name="T48" fmla="*/ 0 w 1520"/>
                  <a:gd name="T49" fmla="*/ 0 h 1552"/>
                  <a:gd name="T50" fmla="*/ 0 w 1520"/>
                  <a:gd name="T51" fmla="*/ 0 h 1552"/>
                  <a:gd name="T52" fmla="*/ 0 w 1520"/>
                  <a:gd name="T53" fmla="*/ 0 h 1552"/>
                  <a:gd name="T54" fmla="*/ 0 w 1520"/>
                  <a:gd name="T55" fmla="*/ 0 h 1552"/>
                  <a:gd name="T56" fmla="*/ 0 w 1520"/>
                  <a:gd name="T57" fmla="*/ 0 h 1552"/>
                  <a:gd name="T58" fmla="*/ 0 w 1520"/>
                  <a:gd name="T59" fmla="*/ 0 h 1552"/>
                  <a:gd name="T60" fmla="*/ 0 w 1520"/>
                  <a:gd name="T61" fmla="*/ 0 h 1552"/>
                  <a:gd name="T62" fmla="*/ 0 w 1520"/>
                  <a:gd name="T63" fmla="*/ 0 h 1552"/>
                  <a:gd name="T64" fmla="*/ 0 w 1520"/>
                  <a:gd name="T65" fmla="*/ 0 h 1552"/>
                  <a:gd name="T66" fmla="*/ 0 w 1520"/>
                  <a:gd name="T67" fmla="*/ 0 h 1552"/>
                  <a:gd name="T68" fmla="*/ 0 w 1520"/>
                  <a:gd name="T69" fmla="*/ 0 h 1552"/>
                  <a:gd name="T70" fmla="*/ 0 w 1520"/>
                  <a:gd name="T71" fmla="*/ 0 h 15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20"/>
                  <a:gd name="T109" fmla="*/ 0 h 1552"/>
                  <a:gd name="T110" fmla="*/ 1520 w 1520"/>
                  <a:gd name="T111" fmla="*/ 1552 h 15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20" h="1552">
                    <a:moveTo>
                      <a:pt x="0" y="1376"/>
                    </a:moveTo>
                    <a:lnTo>
                      <a:pt x="8" y="1300"/>
                    </a:lnTo>
                    <a:lnTo>
                      <a:pt x="24" y="1200"/>
                    </a:lnTo>
                    <a:lnTo>
                      <a:pt x="32" y="1096"/>
                    </a:lnTo>
                    <a:lnTo>
                      <a:pt x="100" y="920"/>
                    </a:lnTo>
                    <a:lnTo>
                      <a:pt x="168" y="800"/>
                    </a:lnTo>
                    <a:lnTo>
                      <a:pt x="220" y="680"/>
                    </a:lnTo>
                    <a:lnTo>
                      <a:pt x="264" y="608"/>
                    </a:lnTo>
                    <a:lnTo>
                      <a:pt x="356" y="516"/>
                    </a:lnTo>
                    <a:lnTo>
                      <a:pt x="456" y="336"/>
                    </a:lnTo>
                    <a:lnTo>
                      <a:pt x="496" y="336"/>
                    </a:lnTo>
                    <a:lnTo>
                      <a:pt x="652" y="104"/>
                    </a:lnTo>
                    <a:lnTo>
                      <a:pt x="696" y="80"/>
                    </a:lnTo>
                    <a:lnTo>
                      <a:pt x="900" y="164"/>
                    </a:lnTo>
                    <a:lnTo>
                      <a:pt x="1060" y="140"/>
                    </a:lnTo>
                    <a:lnTo>
                      <a:pt x="1184" y="84"/>
                    </a:lnTo>
                    <a:lnTo>
                      <a:pt x="1264" y="4"/>
                    </a:lnTo>
                    <a:lnTo>
                      <a:pt x="1404" y="0"/>
                    </a:lnTo>
                    <a:lnTo>
                      <a:pt x="1412" y="92"/>
                    </a:lnTo>
                    <a:lnTo>
                      <a:pt x="1448" y="152"/>
                    </a:lnTo>
                    <a:lnTo>
                      <a:pt x="1456" y="300"/>
                    </a:lnTo>
                    <a:lnTo>
                      <a:pt x="1496" y="336"/>
                    </a:lnTo>
                    <a:lnTo>
                      <a:pt x="1520" y="392"/>
                    </a:lnTo>
                    <a:lnTo>
                      <a:pt x="1464" y="428"/>
                    </a:lnTo>
                    <a:lnTo>
                      <a:pt x="1400" y="480"/>
                    </a:lnTo>
                    <a:lnTo>
                      <a:pt x="1388" y="436"/>
                    </a:lnTo>
                    <a:lnTo>
                      <a:pt x="1320" y="444"/>
                    </a:lnTo>
                    <a:lnTo>
                      <a:pt x="1276" y="484"/>
                    </a:lnTo>
                    <a:lnTo>
                      <a:pt x="1228" y="476"/>
                    </a:lnTo>
                    <a:lnTo>
                      <a:pt x="1192" y="536"/>
                    </a:lnTo>
                    <a:lnTo>
                      <a:pt x="1112" y="508"/>
                    </a:lnTo>
                    <a:lnTo>
                      <a:pt x="1052" y="528"/>
                    </a:lnTo>
                    <a:lnTo>
                      <a:pt x="1076" y="552"/>
                    </a:lnTo>
                    <a:lnTo>
                      <a:pt x="1056" y="600"/>
                    </a:lnTo>
                    <a:lnTo>
                      <a:pt x="992" y="624"/>
                    </a:lnTo>
                    <a:lnTo>
                      <a:pt x="968" y="656"/>
                    </a:lnTo>
                    <a:lnTo>
                      <a:pt x="912" y="668"/>
                    </a:lnTo>
                    <a:lnTo>
                      <a:pt x="840" y="648"/>
                    </a:lnTo>
                    <a:lnTo>
                      <a:pt x="812" y="648"/>
                    </a:lnTo>
                    <a:lnTo>
                      <a:pt x="784" y="656"/>
                    </a:lnTo>
                    <a:lnTo>
                      <a:pt x="764" y="700"/>
                    </a:lnTo>
                    <a:lnTo>
                      <a:pt x="744" y="792"/>
                    </a:lnTo>
                    <a:lnTo>
                      <a:pt x="708" y="852"/>
                    </a:lnTo>
                    <a:lnTo>
                      <a:pt x="696" y="956"/>
                    </a:lnTo>
                    <a:lnTo>
                      <a:pt x="660" y="980"/>
                    </a:lnTo>
                    <a:lnTo>
                      <a:pt x="660" y="1032"/>
                    </a:lnTo>
                    <a:lnTo>
                      <a:pt x="568" y="1084"/>
                    </a:lnTo>
                    <a:lnTo>
                      <a:pt x="544" y="1084"/>
                    </a:lnTo>
                    <a:lnTo>
                      <a:pt x="532" y="1112"/>
                    </a:lnTo>
                    <a:lnTo>
                      <a:pt x="472" y="1128"/>
                    </a:lnTo>
                    <a:lnTo>
                      <a:pt x="452" y="1172"/>
                    </a:lnTo>
                    <a:lnTo>
                      <a:pt x="424" y="1204"/>
                    </a:lnTo>
                    <a:lnTo>
                      <a:pt x="476" y="1236"/>
                    </a:lnTo>
                    <a:lnTo>
                      <a:pt x="476" y="1292"/>
                    </a:lnTo>
                    <a:lnTo>
                      <a:pt x="452" y="1384"/>
                    </a:lnTo>
                    <a:lnTo>
                      <a:pt x="512" y="1408"/>
                    </a:lnTo>
                    <a:lnTo>
                      <a:pt x="548" y="1460"/>
                    </a:lnTo>
                    <a:lnTo>
                      <a:pt x="500" y="1504"/>
                    </a:lnTo>
                    <a:lnTo>
                      <a:pt x="416" y="1460"/>
                    </a:lnTo>
                    <a:lnTo>
                      <a:pt x="324" y="1508"/>
                    </a:lnTo>
                    <a:lnTo>
                      <a:pt x="308" y="1552"/>
                    </a:lnTo>
                    <a:lnTo>
                      <a:pt x="248" y="1508"/>
                    </a:lnTo>
                    <a:lnTo>
                      <a:pt x="184" y="1384"/>
                    </a:lnTo>
                    <a:lnTo>
                      <a:pt x="140" y="1336"/>
                    </a:lnTo>
                    <a:lnTo>
                      <a:pt x="140" y="1252"/>
                    </a:lnTo>
                    <a:lnTo>
                      <a:pt x="116" y="1216"/>
                    </a:lnTo>
                    <a:lnTo>
                      <a:pt x="64" y="1216"/>
                    </a:lnTo>
                    <a:lnTo>
                      <a:pt x="52" y="1312"/>
                    </a:lnTo>
                    <a:lnTo>
                      <a:pt x="72" y="1332"/>
                    </a:lnTo>
                    <a:lnTo>
                      <a:pt x="76" y="1396"/>
                    </a:lnTo>
                    <a:lnTo>
                      <a:pt x="64" y="1428"/>
                    </a:lnTo>
                    <a:lnTo>
                      <a:pt x="0" y="1376"/>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91" name="Freeform 12"/>
              <p:cNvSpPr>
                <a:spLocks/>
              </p:cNvSpPr>
              <p:nvPr/>
            </p:nvSpPr>
            <p:spPr bwMode="auto">
              <a:xfrm>
                <a:off x="796" y="1633"/>
                <a:ext cx="281" cy="384"/>
              </a:xfrm>
              <a:custGeom>
                <a:avLst/>
                <a:gdLst>
                  <a:gd name="T0" fmla="*/ 281 w 281"/>
                  <a:gd name="T1" fmla="*/ 3 h 384"/>
                  <a:gd name="T2" fmla="*/ 269 w 281"/>
                  <a:gd name="T3" fmla="*/ 36 h 384"/>
                  <a:gd name="T4" fmla="*/ 272 w 281"/>
                  <a:gd name="T5" fmla="*/ 48 h 384"/>
                  <a:gd name="T6" fmla="*/ 270 w 281"/>
                  <a:gd name="T7" fmla="*/ 81 h 384"/>
                  <a:gd name="T8" fmla="*/ 263 w 281"/>
                  <a:gd name="T9" fmla="*/ 118 h 384"/>
                  <a:gd name="T10" fmla="*/ 255 w 281"/>
                  <a:gd name="T11" fmla="*/ 141 h 384"/>
                  <a:gd name="T12" fmla="*/ 223 w 281"/>
                  <a:gd name="T13" fmla="*/ 120 h 384"/>
                  <a:gd name="T14" fmla="*/ 212 w 281"/>
                  <a:gd name="T15" fmla="*/ 134 h 384"/>
                  <a:gd name="T16" fmla="*/ 220 w 281"/>
                  <a:gd name="T17" fmla="*/ 168 h 384"/>
                  <a:gd name="T18" fmla="*/ 229 w 281"/>
                  <a:gd name="T19" fmla="*/ 204 h 384"/>
                  <a:gd name="T20" fmla="*/ 243 w 281"/>
                  <a:gd name="T21" fmla="*/ 221 h 384"/>
                  <a:gd name="T22" fmla="*/ 206 w 281"/>
                  <a:gd name="T23" fmla="*/ 250 h 384"/>
                  <a:gd name="T24" fmla="*/ 206 w 281"/>
                  <a:gd name="T25" fmla="*/ 290 h 384"/>
                  <a:gd name="T26" fmla="*/ 188 w 281"/>
                  <a:gd name="T27" fmla="*/ 314 h 384"/>
                  <a:gd name="T28" fmla="*/ 181 w 281"/>
                  <a:gd name="T29" fmla="*/ 323 h 384"/>
                  <a:gd name="T30" fmla="*/ 166 w 281"/>
                  <a:gd name="T31" fmla="*/ 359 h 384"/>
                  <a:gd name="T32" fmla="*/ 107 w 281"/>
                  <a:gd name="T33" fmla="*/ 375 h 384"/>
                  <a:gd name="T34" fmla="*/ 81 w 281"/>
                  <a:gd name="T35" fmla="*/ 384 h 384"/>
                  <a:gd name="T36" fmla="*/ 81 w 281"/>
                  <a:gd name="T37" fmla="*/ 361 h 384"/>
                  <a:gd name="T38" fmla="*/ 72 w 281"/>
                  <a:gd name="T39" fmla="*/ 342 h 384"/>
                  <a:gd name="T40" fmla="*/ 69 w 281"/>
                  <a:gd name="T41" fmla="*/ 325 h 384"/>
                  <a:gd name="T42" fmla="*/ 61 w 281"/>
                  <a:gd name="T43" fmla="*/ 314 h 384"/>
                  <a:gd name="T44" fmla="*/ 46 w 281"/>
                  <a:gd name="T45" fmla="*/ 334 h 384"/>
                  <a:gd name="T46" fmla="*/ 32 w 281"/>
                  <a:gd name="T47" fmla="*/ 339 h 384"/>
                  <a:gd name="T48" fmla="*/ 34 w 281"/>
                  <a:gd name="T49" fmla="*/ 308 h 384"/>
                  <a:gd name="T50" fmla="*/ 28 w 281"/>
                  <a:gd name="T51" fmla="*/ 298 h 384"/>
                  <a:gd name="T52" fmla="*/ 2 w 281"/>
                  <a:gd name="T53" fmla="*/ 316 h 384"/>
                  <a:gd name="T54" fmla="*/ 0 w 281"/>
                  <a:gd name="T55" fmla="*/ 294 h 384"/>
                  <a:gd name="T56" fmla="*/ 28 w 281"/>
                  <a:gd name="T57" fmla="*/ 274 h 384"/>
                  <a:gd name="T58" fmla="*/ 25 w 281"/>
                  <a:gd name="T59" fmla="*/ 244 h 384"/>
                  <a:gd name="T60" fmla="*/ 41 w 281"/>
                  <a:gd name="T61" fmla="*/ 225 h 384"/>
                  <a:gd name="T62" fmla="*/ 68 w 281"/>
                  <a:gd name="T63" fmla="*/ 229 h 384"/>
                  <a:gd name="T64" fmla="*/ 97 w 281"/>
                  <a:gd name="T65" fmla="*/ 218 h 384"/>
                  <a:gd name="T66" fmla="*/ 97 w 281"/>
                  <a:gd name="T67" fmla="*/ 201 h 384"/>
                  <a:gd name="T68" fmla="*/ 69 w 281"/>
                  <a:gd name="T69" fmla="*/ 194 h 384"/>
                  <a:gd name="T70" fmla="*/ 72 w 281"/>
                  <a:gd name="T71" fmla="*/ 182 h 384"/>
                  <a:gd name="T72" fmla="*/ 89 w 281"/>
                  <a:gd name="T73" fmla="*/ 183 h 384"/>
                  <a:gd name="T74" fmla="*/ 97 w 281"/>
                  <a:gd name="T75" fmla="*/ 121 h 384"/>
                  <a:gd name="T76" fmla="*/ 111 w 281"/>
                  <a:gd name="T77" fmla="*/ 112 h 384"/>
                  <a:gd name="T78" fmla="*/ 141 w 281"/>
                  <a:gd name="T79" fmla="*/ 112 h 384"/>
                  <a:gd name="T80" fmla="*/ 206 w 281"/>
                  <a:gd name="T81" fmla="*/ 93 h 384"/>
                  <a:gd name="T82" fmla="*/ 210 w 281"/>
                  <a:gd name="T83" fmla="*/ 67 h 384"/>
                  <a:gd name="T84" fmla="*/ 212 w 281"/>
                  <a:gd name="T85" fmla="*/ 51 h 384"/>
                  <a:gd name="T86" fmla="*/ 230 w 281"/>
                  <a:gd name="T87" fmla="*/ 30 h 384"/>
                  <a:gd name="T88" fmla="*/ 240 w 281"/>
                  <a:gd name="T89" fmla="*/ 34 h 384"/>
                  <a:gd name="T90" fmla="*/ 252 w 281"/>
                  <a:gd name="T91" fmla="*/ 28 h 384"/>
                  <a:gd name="T92" fmla="*/ 270 w 281"/>
                  <a:gd name="T93" fmla="*/ 0 h 384"/>
                  <a:gd name="T94" fmla="*/ 281 w 281"/>
                  <a:gd name="T95" fmla="*/ 3 h 3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1"/>
                  <a:gd name="T145" fmla="*/ 0 h 384"/>
                  <a:gd name="T146" fmla="*/ 281 w 281"/>
                  <a:gd name="T147" fmla="*/ 384 h 3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1" h="384">
                    <a:moveTo>
                      <a:pt x="281" y="3"/>
                    </a:moveTo>
                    <a:lnTo>
                      <a:pt x="269" y="36"/>
                    </a:lnTo>
                    <a:lnTo>
                      <a:pt x="272" y="48"/>
                    </a:lnTo>
                    <a:lnTo>
                      <a:pt x="270" y="81"/>
                    </a:lnTo>
                    <a:lnTo>
                      <a:pt x="263" y="118"/>
                    </a:lnTo>
                    <a:lnTo>
                      <a:pt x="255" y="141"/>
                    </a:lnTo>
                    <a:lnTo>
                      <a:pt x="223" y="120"/>
                    </a:lnTo>
                    <a:lnTo>
                      <a:pt x="212" y="134"/>
                    </a:lnTo>
                    <a:lnTo>
                      <a:pt x="220" y="168"/>
                    </a:lnTo>
                    <a:lnTo>
                      <a:pt x="229" y="204"/>
                    </a:lnTo>
                    <a:lnTo>
                      <a:pt x="243" y="221"/>
                    </a:lnTo>
                    <a:lnTo>
                      <a:pt x="206" y="250"/>
                    </a:lnTo>
                    <a:lnTo>
                      <a:pt x="206" y="290"/>
                    </a:lnTo>
                    <a:lnTo>
                      <a:pt x="188" y="314"/>
                    </a:lnTo>
                    <a:lnTo>
                      <a:pt x="181" y="323"/>
                    </a:lnTo>
                    <a:lnTo>
                      <a:pt x="166" y="359"/>
                    </a:lnTo>
                    <a:lnTo>
                      <a:pt x="107" y="375"/>
                    </a:lnTo>
                    <a:lnTo>
                      <a:pt x="81" y="384"/>
                    </a:lnTo>
                    <a:lnTo>
                      <a:pt x="81" y="361"/>
                    </a:lnTo>
                    <a:lnTo>
                      <a:pt x="72" y="342"/>
                    </a:lnTo>
                    <a:lnTo>
                      <a:pt x="69" y="325"/>
                    </a:lnTo>
                    <a:lnTo>
                      <a:pt x="61" y="314"/>
                    </a:lnTo>
                    <a:lnTo>
                      <a:pt x="46" y="334"/>
                    </a:lnTo>
                    <a:lnTo>
                      <a:pt x="32" y="339"/>
                    </a:lnTo>
                    <a:lnTo>
                      <a:pt x="34" y="308"/>
                    </a:lnTo>
                    <a:lnTo>
                      <a:pt x="28" y="298"/>
                    </a:lnTo>
                    <a:lnTo>
                      <a:pt x="2" y="316"/>
                    </a:lnTo>
                    <a:lnTo>
                      <a:pt x="0" y="294"/>
                    </a:lnTo>
                    <a:lnTo>
                      <a:pt x="28" y="274"/>
                    </a:lnTo>
                    <a:lnTo>
                      <a:pt x="25" y="244"/>
                    </a:lnTo>
                    <a:lnTo>
                      <a:pt x="41" y="225"/>
                    </a:lnTo>
                    <a:lnTo>
                      <a:pt x="68" y="229"/>
                    </a:lnTo>
                    <a:lnTo>
                      <a:pt x="97" y="218"/>
                    </a:lnTo>
                    <a:lnTo>
                      <a:pt x="97" y="201"/>
                    </a:lnTo>
                    <a:lnTo>
                      <a:pt x="69" y="194"/>
                    </a:lnTo>
                    <a:lnTo>
                      <a:pt x="72" y="182"/>
                    </a:lnTo>
                    <a:lnTo>
                      <a:pt x="89" y="183"/>
                    </a:lnTo>
                    <a:lnTo>
                      <a:pt x="97" y="121"/>
                    </a:lnTo>
                    <a:lnTo>
                      <a:pt x="111" y="112"/>
                    </a:lnTo>
                    <a:lnTo>
                      <a:pt x="141" y="112"/>
                    </a:lnTo>
                    <a:lnTo>
                      <a:pt x="206" y="93"/>
                    </a:lnTo>
                    <a:lnTo>
                      <a:pt x="210" y="67"/>
                    </a:lnTo>
                    <a:lnTo>
                      <a:pt x="212" y="51"/>
                    </a:lnTo>
                    <a:lnTo>
                      <a:pt x="230" y="30"/>
                    </a:lnTo>
                    <a:lnTo>
                      <a:pt x="240" y="34"/>
                    </a:lnTo>
                    <a:lnTo>
                      <a:pt x="252" y="28"/>
                    </a:lnTo>
                    <a:lnTo>
                      <a:pt x="270" y="0"/>
                    </a:lnTo>
                    <a:lnTo>
                      <a:pt x="281" y="3"/>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92" name="Freeform 13"/>
              <p:cNvSpPr>
                <a:spLocks/>
              </p:cNvSpPr>
              <p:nvPr/>
            </p:nvSpPr>
            <p:spPr bwMode="auto">
              <a:xfrm>
                <a:off x="1458" y="1778"/>
                <a:ext cx="530" cy="378"/>
              </a:xfrm>
              <a:custGeom>
                <a:avLst/>
                <a:gdLst>
                  <a:gd name="T0" fmla="*/ 0 w 1380"/>
                  <a:gd name="T1" fmla="*/ 0 h 972"/>
                  <a:gd name="T2" fmla="*/ 0 w 1380"/>
                  <a:gd name="T3" fmla="*/ 0 h 972"/>
                  <a:gd name="T4" fmla="*/ 0 w 1380"/>
                  <a:gd name="T5" fmla="*/ 0 h 972"/>
                  <a:gd name="T6" fmla="*/ 0 w 1380"/>
                  <a:gd name="T7" fmla="*/ 0 h 972"/>
                  <a:gd name="T8" fmla="*/ 0 w 1380"/>
                  <a:gd name="T9" fmla="*/ 0 h 972"/>
                  <a:gd name="T10" fmla="*/ 0 w 1380"/>
                  <a:gd name="T11" fmla="*/ 0 h 972"/>
                  <a:gd name="T12" fmla="*/ 0 w 1380"/>
                  <a:gd name="T13" fmla="*/ 0 h 972"/>
                  <a:gd name="T14" fmla="*/ 0 w 1380"/>
                  <a:gd name="T15" fmla="*/ 0 h 972"/>
                  <a:gd name="T16" fmla="*/ 0 w 1380"/>
                  <a:gd name="T17" fmla="*/ 0 h 972"/>
                  <a:gd name="T18" fmla="*/ 0 w 1380"/>
                  <a:gd name="T19" fmla="*/ 0 h 972"/>
                  <a:gd name="T20" fmla="*/ 0 w 1380"/>
                  <a:gd name="T21" fmla="*/ 0 h 972"/>
                  <a:gd name="T22" fmla="*/ 0 w 1380"/>
                  <a:gd name="T23" fmla="*/ 0 h 972"/>
                  <a:gd name="T24" fmla="*/ 0 w 1380"/>
                  <a:gd name="T25" fmla="*/ 0 h 972"/>
                  <a:gd name="T26" fmla="*/ 0 w 1380"/>
                  <a:gd name="T27" fmla="*/ 0 h 972"/>
                  <a:gd name="T28" fmla="*/ 0 w 1380"/>
                  <a:gd name="T29" fmla="*/ 0 h 972"/>
                  <a:gd name="T30" fmla="*/ 0 w 1380"/>
                  <a:gd name="T31" fmla="*/ 0 h 972"/>
                  <a:gd name="T32" fmla="*/ 0 w 1380"/>
                  <a:gd name="T33" fmla="*/ 0 h 972"/>
                  <a:gd name="T34" fmla="*/ 0 w 1380"/>
                  <a:gd name="T35" fmla="*/ 0 h 972"/>
                  <a:gd name="T36" fmla="*/ 0 w 1380"/>
                  <a:gd name="T37" fmla="*/ 0 h 972"/>
                  <a:gd name="T38" fmla="*/ 0 w 1380"/>
                  <a:gd name="T39" fmla="*/ 0 h 972"/>
                  <a:gd name="T40" fmla="*/ 0 w 1380"/>
                  <a:gd name="T41" fmla="*/ 0 h 972"/>
                  <a:gd name="T42" fmla="*/ 0 w 1380"/>
                  <a:gd name="T43" fmla="*/ 0 h 972"/>
                  <a:gd name="T44" fmla="*/ 0 w 1380"/>
                  <a:gd name="T45" fmla="*/ 0 h 972"/>
                  <a:gd name="T46" fmla="*/ 0 w 1380"/>
                  <a:gd name="T47" fmla="*/ 0 h 972"/>
                  <a:gd name="T48" fmla="*/ 0 w 1380"/>
                  <a:gd name="T49" fmla="*/ 0 h 972"/>
                  <a:gd name="T50" fmla="*/ 0 w 1380"/>
                  <a:gd name="T51" fmla="*/ 0 h 972"/>
                  <a:gd name="T52" fmla="*/ 0 w 1380"/>
                  <a:gd name="T53" fmla="*/ 0 h 972"/>
                  <a:gd name="T54" fmla="*/ 0 w 1380"/>
                  <a:gd name="T55" fmla="*/ 0 h 972"/>
                  <a:gd name="T56" fmla="*/ 0 w 1380"/>
                  <a:gd name="T57" fmla="*/ 0 h 972"/>
                  <a:gd name="T58" fmla="*/ 0 w 1380"/>
                  <a:gd name="T59" fmla="*/ 0 h 972"/>
                  <a:gd name="T60" fmla="*/ 0 w 1380"/>
                  <a:gd name="T61" fmla="*/ 0 h 972"/>
                  <a:gd name="T62" fmla="*/ 0 w 1380"/>
                  <a:gd name="T63" fmla="*/ 0 h 972"/>
                  <a:gd name="T64" fmla="*/ 0 w 1380"/>
                  <a:gd name="T65" fmla="*/ 0 h 972"/>
                  <a:gd name="T66" fmla="*/ 0 w 1380"/>
                  <a:gd name="T67" fmla="*/ 0 h 972"/>
                  <a:gd name="T68" fmla="*/ 0 w 1380"/>
                  <a:gd name="T69" fmla="*/ 0 h 972"/>
                  <a:gd name="T70" fmla="*/ 0 w 1380"/>
                  <a:gd name="T71" fmla="*/ 0 h 972"/>
                  <a:gd name="T72" fmla="*/ 0 w 1380"/>
                  <a:gd name="T73" fmla="*/ 0 h 972"/>
                  <a:gd name="T74" fmla="*/ 0 w 1380"/>
                  <a:gd name="T75" fmla="*/ 0 h 972"/>
                  <a:gd name="T76" fmla="*/ 0 w 1380"/>
                  <a:gd name="T77" fmla="*/ 0 h 972"/>
                  <a:gd name="T78" fmla="*/ 0 w 1380"/>
                  <a:gd name="T79" fmla="*/ 0 h 972"/>
                  <a:gd name="T80" fmla="*/ 0 w 1380"/>
                  <a:gd name="T81" fmla="*/ 0 h 972"/>
                  <a:gd name="T82" fmla="*/ 0 w 1380"/>
                  <a:gd name="T83" fmla="*/ 0 h 972"/>
                  <a:gd name="T84" fmla="*/ 0 w 1380"/>
                  <a:gd name="T85" fmla="*/ 0 h 972"/>
                  <a:gd name="T86" fmla="*/ 0 w 1380"/>
                  <a:gd name="T87" fmla="*/ 0 h 972"/>
                  <a:gd name="T88" fmla="*/ 0 w 1380"/>
                  <a:gd name="T89" fmla="*/ 0 h 97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80"/>
                  <a:gd name="T136" fmla="*/ 0 h 972"/>
                  <a:gd name="T137" fmla="*/ 1380 w 1380"/>
                  <a:gd name="T138" fmla="*/ 972 h 97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80" h="972">
                    <a:moveTo>
                      <a:pt x="1380" y="460"/>
                    </a:moveTo>
                    <a:lnTo>
                      <a:pt x="1356" y="368"/>
                    </a:lnTo>
                    <a:lnTo>
                      <a:pt x="1292" y="304"/>
                    </a:lnTo>
                    <a:lnTo>
                      <a:pt x="1256" y="4"/>
                    </a:lnTo>
                    <a:lnTo>
                      <a:pt x="1160" y="24"/>
                    </a:lnTo>
                    <a:lnTo>
                      <a:pt x="1160" y="0"/>
                    </a:lnTo>
                    <a:lnTo>
                      <a:pt x="1112" y="8"/>
                    </a:lnTo>
                    <a:lnTo>
                      <a:pt x="1124" y="56"/>
                    </a:lnTo>
                    <a:lnTo>
                      <a:pt x="1148" y="56"/>
                    </a:lnTo>
                    <a:lnTo>
                      <a:pt x="1144" y="176"/>
                    </a:lnTo>
                    <a:lnTo>
                      <a:pt x="1176" y="200"/>
                    </a:lnTo>
                    <a:lnTo>
                      <a:pt x="1144" y="224"/>
                    </a:lnTo>
                    <a:lnTo>
                      <a:pt x="1068" y="196"/>
                    </a:lnTo>
                    <a:lnTo>
                      <a:pt x="984" y="300"/>
                    </a:lnTo>
                    <a:lnTo>
                      <a:pt x="904" y="328"/>
                    </a:lnTo>
                    <a:lnTo>
                      <a:pt x="876" y="312"/>
                    </a:lnTo>
                    <a:lnTo>
                      <a:pt x="868" y="212"/>
                    </a:lnTo>
                    <a:lnTo>
                      <a:pt x="716" y="216"/>
                    </a:lnTo>
                    <a:lnTo>
                      <a:pt x="688" y="168"/>
                    </a:lnTo>
                    <a:lnTo>
                      <a:pt x="652" y="172"/>
                    </a:lnTo>
                    <a:lnTo>
                      <a:pt x="636" y="200"/>
                    </a:lnTo>
                    <a:lnTo>
                      <a:pt x="524" y="188"/>
                    </a:lnTo>
                    <a:lnTo>
                      <a:pt x="444" y="164"/>
                    </a:lnTo>
                    <a:lnTo>
                      <a:pt x="416" y="224"/>
                    </a:lnTo>
                    <a:lnTo>
                      <a:pt x="440" y="260"/>
                    </a:lnTo>
                    <a:lnTo>
                      <a:pt x="408" y="280"/>
                    </a:lnTo>
                    <a:lnTo>
                      <a:pt x="416" y="328"/>
                    </a:lnTo>
                    <a:lnTo>
                      <a:pt x="468" y="360"/>
                    </a:lnTo>
                    <a:lnTo>
                      <a:pt x="456" y="408"/>
                    </a:lnTo>
                    <a:lnTo>
                      <a:pt x="388" y="408"/>
                    </a:lnTo>
                    <a:lnTo>
                      <a:pt x="376" y="448"/>
                    </a:lnTo>
                    <a:lnTo>
                      <a:pt x="376" y="484"/>
                    </a:lnTo>
                    <a:lnTo>
                      <a:pt x="348" y="504"/>
                    </a:lnTo>
                    <a:lnTo>
                      <a:pt x="300" y="572"/>
                    </a:lnTo>
                    <a:lnTo>
                      <a:pt x="312" y="660"/>
                    </a:lnTo>
                    <a:lnTo>
                      <a:pt x="256" y="660"/>
                    </a:lnTo>
                    <a:lnTo>
                      <a:pt x="204" y="636"/>
                    </a:lnTo>
                    <a:lnTo>
                      <a:pt x="192" y="600"/>
                    </a:lnTo>
                    <a:lnTo>
                      <a:pt x="128" y="576"/>
                    </a:lnTo>
                    <a:lnTo>
                      <a:pt x="72" y="556"/>
                    </a:lnTo>
                    <a:lnTo>
                      <a:pt x="76" y="684"/>
                    </a:lnTo>
                    <a:lnTo>
                      <a:pt x="0" y="676"/>
                    </a:lnTo>
                    <a:lnTo>
                      <a:pt x="24" y="732"/>
                    </a:lnTo>
                    <a:lnTo>
                      <a:pt x="116" y="740"/>
                    </a:lnTo>
                    <a:lnTo>
                      <a:pt x="160" y="716"/>
                    </a:lnTo>
                    <a:lnTo>
                      <a:pt x="240" y="744"/>
                    </a:lnTo>
                    <a:lnTo>
                      <a:pt x="256" y="792"/>
                    </a:lnTo>
                    <a:lnTo>
                      <a:pt x="192" y="816"/>
                    </a:lnTo>
                    <a:lnTo>
                      <a:pt x="208" y="884"/>
                    </a:lnTo>
                    <a:lnTo>
                      <a:pt x="288" y="864"/>
                    </a:lnTo>
                    <a:lnTo>
                      <a:pt x="340" y="888"/>
                    </a:lnTo>
                    <a:lnTo>
                      <a:pt x="360" y="928"/>
                    </a:lnTo>
                    <a:lnTo>
                      <a:pt x="416" y="972"/>
                    </a:lnTo>
                    <a:lnTo>
                      <a:pt x="540" y="964"/>
                    </a:lnTo>
                    <a:lnTo>
                      <a:pt x="620" y="944"/>
                    </a:lnTo>
                    <a:lnTo>
                      <a:pt x="704" y="888"/>
                    </a:lnTo>
                    <a:lnTo>
                      <a:pt x="724" y="856"/>
                    </a:lnTo>
                    <a:lnTo>
                      <a:pt x="756" y="840"/>
                    </a:lnTo>
                    <a:lnTo>
                      <a:pt x="788" y="860"/>
                    </a:lnTo>
                    <a:lnTo>
                      <a:pt x="900" y="820"/>
                    </a:lnTo>
                    <a:lnTo>
                      <a:pt x="972" y="752"/>
                    </a:lnTo>
                    <a:lnTo>
                      <a:pt x="1012" y="724"/>
                    </a:lnTo>
                    <a:lnTo>
                      <a:pt x="1012" y="692"/>
                    </a:lnTo>
                    <a:lnTo>
                      <a:pt x="1076" y="612"/>
                    </a:lnTo>
                    <a:lnTo>
                      <a:pt x="1128" y="572"/>
                    </a:lnTo>
                    <a:lnTo>
                      <a:pt x="1144" y="548"/>
                    </a:lnTo>
                    <a:lnTo>
                      <a:pt x="1104" y="516"/>
                    </a:lnTo>
                    <a:lnTo>
                      <a:pt x="1068" y="524"/>
                    </a:lnTo>
                    <a:lnTo>
                      <a:pt x="1024" y="552"/>
                    </a:lnTo>
                    <a:lnTo>
                      <a:pt x="1016" y="516"/>
                    </a:lnTo>
                    <a:lnTo>
                      <a:pt x="972" y="528"/>
                    </a:lnTo>
                    <a:lnTo>
                      <a:pt x="916" y="548"/>
                    </a:lnTo>
                    <a:lnTo>
                      <a:pt x="848" y="564"/>
                    </a:lnTo>
                    <a:lnTo>
                      <a:pt x="832" y="608"/>
                    </a:lnTo>
                    <a:lnTo>
                      <a:pt x="728" y="684"/>
                    </a:lnTo>
                    <a:lnTo>
                      <a:pt x="708" y="660"/>
                    </a:lnTo>
                    <a:lnTo>
                      <a:pt x="728" y="604"/>
                    </a:lnTo>
                    <a:lnTo>
                      <a:pt x="764" y="596"/>
                    </a:lnTo>
                    <a:lnTo>
                      <a:pt x="820" y="556"/>
                    </a:lnTo>
                    <a:lnTo>
                      <a:pt x="860" y="516"/>
                    </a:lnTo>
                    <a:lnTo>
                      <a:pt x="912" y="484"/>
                    </a:lnTo>
                    <a:lnTo>
                      <a:pt x="948" y="516"/>
                    </a:lnTo>
                    <a:lnTo>
                      <a:pt x="1016" y="464"/>
                    </a:lnTo>
                    <a:lnTo>
                      <a:pt x="1024" y="440"/>
                    </a:lnTo>
                    <a:lnTo>
                      <a:pt x="1080" y="444"/>
                    </a:lnTo>
                    <a:lnTo>
                      <a:pt x="1104" y="484"/>
                    </a:lnTo>
                    <a:lnTo>
                      <a:pt x="1152" y="488"/>
                    </a:lnTo>
                    <a:lnTo>
                      <a:pt x="1172" y="440"/>
                    </a:lnTo>
                    <a:lnTo>
                      <a:pt x="1312" y="468"/>
                    </a:lnTo>
                    <a:lnTo>
                      <a:pt x="1352" y="484"/>
                    </a:lnTo>
                    <a:lnTo>
                      <a:pt x="1380" y="46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93" name="Freeform 14"/>
              <p:cNvSpPr>
                <a:spLocks/>
              </p:cNvSpPr>
              <p:nvPr/>
            </p:nvSpPr>
            <p:spPr bwMode="auto">
              <a:xfrm>
                <a:off x="2378" y="1277"/>
                <a:ext cx="160" cy="110"/>
              </a:xfrm>
              <a:custGeom>
                <a:avLst/>
                <a:gdLst>
                  <a:gd name="T0" fmla="*/ 0 w 368"/>
                  <a:gd name="T1" fmla="*/ 0 h 238"/>
                  <a:gd name="T2" fmla="*/ 0 w 368"/>
                  <a:gd name="T3" fmla="*/ 0 h 238"/>
                  <a:gd name="T4" fmla="*/ 0 w 368"/>
                  <a:gd name="T5" fmla="*/ 0 h 238"/>
                  <a:gd name="T6" fmla="*/ 0 w 368"/>
                  <a:gd name="T7" fmla="*/ 0 h 238"/>
                  <a:gd name="T8" fmla="*/ 0 w 368"/>
                  <a:gd name="T9" fmla="*/ 0 h 238"/>
                  <a:gd name="T10" fmla="*/ 0 w 368"/>
                  <a:gd name="T11" fmla="*/ 0 h 238"/>
                  <a:gd name="T12" fmla="*/ 0 w 368"/>
                  <a:gd name="T13" fmla="*/ 0 h 238"/>
                  <a:gd name="T14" fmla="*/ 0 w 368"/>
                  <a:gd name="T15" fmla="*/ 0 h 238"/>
                  <a:gd name="T16" fmla="*/ 0 w 368"/>
                  <a:gd name="T17" fmla="*/ 0 h 238"/>
                  <a:gd name="T18" fmla="*/ 0 w 368"/>
                  <a:gd name="T19" fmla="*/ 0 h 238"/>
                  <a:gd name="T20" fmla="*/ 0 w 368"/>
                  <a:gd name="T21" fmla="*/ 0 h 238"/>
                  <a:gd name="T22" fmla="*/ 0 w 368"/>
                  <a:gd name="T23" fmla="*/ 0 h 238"/>
                  <a:gd name="T24" fmla="*/ 0 w 368"/>
                  <a:gd name="T25" fmla="*/ 0 h 238"/>
                  <a:gd name="T26" fmla="*/ 0 w 368"/>
                  <a:gd name="T27" fmla="*/ 0 h 238"/>
                  <a:gd name="T28" fmla="*/ 0 w 368"/>
                  <a:gd name="T29" fmla="*/ 0 h 238"/>
                  <a:gd name="T30" fmla="*/ 0 w 368"/>
                  <a:gd name="T31" fmla="*/ 0 h 238"/>
                  <a:gd name="T32" fmla="*/ 0 w 368"/>
                  <a:gd name="T33" fmla="*/ 0 h 238"/>
                  <a:gd name="T34" fmla="*/ 0 w 368"/>
                  <a:gd name="T35" fmla="*/ 0 h 238"/>
                  <a:gd name="T36" fmla="*/ 0 w 368"/>
                  <a:gd name="T37" fmla="*/ 0 h 238"/>
                  <a:gd name="T38" fmla="*/ 0 w 368"/>
                  <a:gd name="T39" fmla="*/ 0 h 238"/>
                  <a:gd name="T40" fmla="*/ 0 w 368"/>
                  <a:gd name="T41" fmla="*/ 0 h 238"/>
                  <a:gd name="T42" fmla="*/ 0 w 368"/>
                  <a:gd name="T43" fmla="*/ 0 h 238"/>
                  <a:gd name="T44" fmla="*/ 0 w 368"/>
                  <a:gd name="T45" fmla="*/ 0 h 238"/>
                  <a:gd name="T46" fmla="*/ 0 w 368"/>
                  <a:gd name="T47" fmla="*/ 0 h 238"/>
                  <a:gd name="T48" fmla="*/ 0 w 368"/>
                  <a:gd name="T49" fmla="*/ 0 h 2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8"/>
                  <a:gd name="T76" fmla="*/ 0 h 238"/>
                  <a:gd name="T77" fmla="*/ 368 w 368"/>
                  <a:gd name="T78" fmla="*/ 238 h 2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8" h="238">
                    <a:moveTo>
                      <a:pt x="214" y="206"/>
                    </a:moveTo>
                    <a:lnTo>
                      <a:pt x="232" y="168"/>
                    </a:lnTo>
                    <a:lnTo>
                      <a:pt x="262" y="152"/>
                    </a:lnTo>
                    <a:lnTo>
                      <a:pt x="246" y="122"/>
                    </a:lnTo>
                    <a:lnTo>
                      <a:pt x="268" y="78"/>
                    </a:lnTo>
                    <a:lnTo>
                      <a:pt x="354" y="48"/>
                    </a:lnTo>
                    <a:lnTo>
                      <a:pt x="368" y="22"/>
                    </a:lnTo>
                    <a:lnTo>
                      <a:pt x="348" y="4"/>
                    </a:lnTo>
                    <a:lnTo>
                      <a:pt x="304" y="0"/>
                    </a:lnTo>
                    <a:lnTo>
                      <a:pt x="236" y="30"/>
                    </a:lnTo>
                    <a:lnTo>
                      <a:pt x="184" y="22"/>
                    </a:lnTo>
                    <a:lnTo>
                      <a:pt x="148" y="44"/>
                    </a:lnTo>
                    <a:lnTo>
                      <a:pt x="68" y="66"/>
                    </a:lnTo>
                    <a:lnTo>
                      <a:pt x="54" y="96"/>
                    </a:lnTo>
                    <a:lnTo>
                      <a:pt x="34" y="102"/>
                    </a:lnTo>
                    <a:lnTo>
                      <a:pt x="0" y="152"/>
                    </a:lnTo>
                    <a:lnTo>
                      <a:pt x="24" y="182"/>
                    </a:lnTo>
                    <a:lnTo>
                      <a:pt x="90" y="178"/>
                    </a:lnTo>
                    <a:lnTo>
                      <a:pt x="98" y="198"/>
                    </a:lnTo>
                    <a:lnTo>
                      <a:pt x="108" y="186"/>
                    </a:lnTo>
                    <a:lnTo>
                      <a:pt x="138" y="196"/>
                    </a:lnTo>
                    <a:lnTo>
                      <a:pt x="122" y="212"/>
                    </a:lnTo>
                    <a:lnTo>
                      <a:pt x="128" y="232"/>
                    </a:lnTo>
                    <a:lnTo>
                      <a:pt x="166" y="238"/>
                    </a:lnTo>
                    <a:lnTo>
                      <a:pt x="214" y="20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75" name="Group 15"/>
            <p:cNvGrpSpPr>
              <a:grpSpLocks/>
            </p:cNvGrpSpPr>
            <p:nvPr/>
          </p:nvGrpSpPr>
          <p:grpSpPr bwMode="auto">
            <a:xfrm>
              <a:off x="678" y="1526"/>
              <a:ext cx="1136" cy="1241"/>
              <a:chOff x="489" y="1848"/>
              <a:chExt cx="1136" cy="1241"/>
            </a:xfrm>
          </p:grpSpPr>
          <p:sp>
            <p:nvSpPr>
              <p:cNvPr id="29874" name="Freeform 16"/>
              <p:cNvSpPr>
                <a:spLocks/>
              </p:cNvSpPr>
              <p:nvPr/>
            </p:nvSpPr>
            <p:spPr bwMode="auto">
              <a:xfrm>
                <a:off x="489" y="2513"/>
                <a:ext cx="525" cy="576"/>
              </a:xfrm>
              <a:custGeom>
                <a:avLst/>
                <a:gdLst>
                  <a:gd name="T0" fmla="*/ 69 w 525"/>
                  <a:gd name="T1" fmla="*/ 544 h 576"/>
                  <a:gd name="T2" fmla="*/ 91 w 525"/>
                  <a:gd name="T3" fmla="*/ 540 h 576"/>
                  <a:gd name="T4" fmla="*/ 117 w 525"/>
                  <a:gd name="T5" fmla="*/ 552 h 576"/>
                  <a:gd name="T6" fmla="*/ 157 w 525"/>
                  <a:gd name="T7" fmla="*/ 540 h 576"/>
                  <a:gd name="T8" fmla="*/ 199 w 525"/>
                  <a:gd name="T9" fmla="*/ 546 h 576"/>
                  <a:gd name="T10" fmla="*/ 235 w 525"/>
                  <a:gd name="T11" fmla="*/ 576 h 576"/>
                  <a:gd name="T12" fmla="*/ 259 w 525"/>
                  <a:gd name="T13" fmla="*/ 570 h 576"/>
                  <a:gd name="T14" fmla="*/ 275 w 525"/>
                  <a:gd name="T15" fmla="*/ 544 h 576"/>
                  <a:gd name="T16" fmla="*/ 301 w 525"/>
                  <a:gd name="T17" fmla="*/ 514 h 576"/>
                  <a:gd name="T18" fmla="*/ 353 w 525"/>
                  <a:gd name="T19" fmla="*/ 510 h 576"/>
                  <a:gd name="T20" fmla="*/ 433 w 525"/>
                  <a:gd name="T21" fmla="*/ 548 h 576"/>
                  <a:gd name="T22" fmla="*/ 477 w 525"/>
                  <a:gd name="T23" fmla="*/ 552 h 576"/>
                  <a:gd name="T24" fmla="*/ 482 w 525"/>
                  <a:gd name="T25" fmla="*/ 522 h 576"/>
                  <a:gd name="T26" fmla="*/ 499 w 525"/>
                  <a:gd name="T27" fmla="*/ 482 h 576"/>
                  <a:gd name="T28" fmla="*/ 424 w 525"/>
                  <a:gd name="T29" fmla="*/ 396 h 576"/>
                  <a:gd name="T30" fmla="*/ 447 w 525"/>
                  <a:gd name="T31" fmla="*/ 325 h 576"/>
                  <a:gd name="T32" fmla="*/ 476 w 525"/>
                  <a:gd name="T33" fmla="*/ 282 h 576"/>
                  <a:gd name="T34" fmla="*/ 477 w 525"/>
                  <a:gd name="T35" fmla="*/ 263 h 576"/>
                  <a:gd name="T36" fmla="*/ 525 w 525"/>
                  <a:gd name="T37" fmla="*/ 250 h 576"/>
                  <a:gd name="T38" fmla="*/ 498 w 525"/>
                  <a:gd name="T39" fmla="*/ 214 h 576"/>
                  <a:gd name="T40" fmla="*/ 457 w 525"/>
                  <a:gd name="T41" fmla="*/ 203 h 576"/>
                  <a:gd name="T42" fmla="*/ 454 w 525"/>
                  <a:gd name="T43" fmla="*/ 166 h 576"/>
                  <a:gd name="T44" fmla="*/ 437 w 525"/>
                  <a:gd name="T45" fmla="*/ 146 h 576"/>
                  <a:gd name="T46" fmla="*/ 387 w 525"/>
                  <a:gd name="T47" fmla="*/ 155 h 576"/>
                  <a:gd name="T48" fmla="*/ 361 w 525"/>
                  <a:gd name="T49" fmla="*/ 163 h 576"/>
                  <a:gd name="T50" fmla="*/ 338 w 525"/>
                  <a:gd name="T51" fmla="*/ 136 h 576"/>
                  <a:gd name="T52" fmla="*/ 306 w 525"/>
                  <a:gd name="T53" fmla="*/ 95 h 576"/>
                  <a:gd name="T54" fmla="*/ 250 w 525"/>
                  <a:gd name="T55" fmla="*/ 27 h 576"/>
                  <a:gd name="T56" fmla="*/ 211 w 525"/>
                  <a:gd name="T57" fmla="*/ 16 h 576"/>
                  <a:gd name="T58" fmla="*/ 188 w 525"/>
                  <a:gd name="T59" fmla="*/ 35 h 576"/>
                  <a:gd name="T60" fmla="*/ 128 w 525"/>
                  <a:gd name="T61" fmla="*/ 46 h 576"/>
                  <a:gd name="T62" fmla="*/ 92 w 525"/>
                  <a:gd name="T63" fmla="*/ 16 h 576"/>
                  <a:gd name="T64" fmla="*/ 75 w 525"/>
                  <a:gd name="T65" fmla="*/ 12 h 576"/>
                  <a:gd name="T66" fmla="*/ 40 w 525"/>
                  <a:gd name="T67" fmla="*/ 31 h 576"/>
                  <a:gd name="T68" fmla="*/ 16 w 525"/>
                  <a:gd name="T69" fmla="*/ 174 h 576"/>
                  <a:gd name="T70" fmla="*/ 0 w 525"/>
                  <a:gd name="T71" fmla="*/ 275 h 576"/>
                  <a:gd name="T72" fmla="*/ 14 w 525"/>
                  <a:gd name="T73" fmla="*/ 336 h 576"/>
                  <a:gd name="T74" fmla="*/ 29 w 525"/>
                  <a:gd name="T75" fmla="*/ 315 h 576"/>
                  <a:gd name="T76" fmla="*/ 33 w 525"/>
                  <a:gd name="T77" fmla="*/ 241 h 576"/>
                  <a:gd name="T78" fmla="*/ 40 w 525"/>
                  <a:gd name="T79" fmla="*/ 207 h 576"/>
                  <a:gd name="T80" fmla="*/ 53 w 525"/>
                  <a:gd name="T81" fmla="*/ 200 h 576"/>
                  <a:gd name="T82" fmla="*/ 117 w 525"/>
                  <a:gd name="T83" fmla="*/ 237 h 576"/>
                  <a:gd name="T84" fmla="*/ 147 w 525"/>
                  <a:gd name="T85" fmla="*/ 296 h 576"/>
                  <a:gd name="T86" fmla="*/ 189 w 525"/>
                  <a:gd name="T87" fmla="*/ 396 h 576"/>
                  <a:gd name="T88" fmla="*/ 192 w 525"/>
                  <a:gd name="T89" fmla="*/ 454 h 576"/>
                  <a:gd name="T90" fmla="*/ 108 w 525"/>
                  <a:gd name="T91" fmla="*/ 526 h 576"/>
                  <a:gd name="T92" fmla="*/ 105 w 525"/>
                  <a:gd name="T93" fmla="*/ 480 h 576"/>
                  <a:gd name="T94" fmla="*/ 94 w 525"/>
                  <a:gd name="T95" fmla="*/ 476 h 576"/>
                  <a:gd name="T96" fmla="*/ 75 w 525"/>
                  <a:gd name="T97" fmla="*/ 464 h 576"/>
                  <a:gd name="T98" fmla="*/ 71 w 525"/>
                  <a:gd name="T99" fmla="*/ 498 h 576"/>
                  <a:gd name="T100" fmla="*/ 53 w 525"/>
                  <a:gd name="T101" fmla="*/ 529 h 576"/>
                  <a:gd name="T102" fmla="*/ 48 w 525"/>
                  <a:gd name="T103" fmla="*/ 392 h 576"/>
                  <a:gd name="T104" fmla="*/ 29 w 525"/>
                  <a:gd name="T105" fmla="*/ 342 h 576"/>
                  <a:gd name="T106" fmla="*/ 32 w 525"/>
                  <a:gd name="T107" fmla="*/ 401 h 576"/>
                  <a:gd name="T108" fmla="*/ 36 w 525"/>
                  <a:gd name="T109" fmla="*/ 498 h 5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5"/>
                  <a:gd name="T166" fmla="*/ 0 h 576"/>
                  <a:gd name="T167" fmla="*/ 525 w 525"/>
                  <a:gd name="T168" fmla="*/ 576 h 5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5" h="576">
                    <a:moveTo>
                      <a:pt x="39" y="547"/>
                    </a:moveTo>
                    <a:lnTo>
                      <a:pt x="69" y="544"/>
                    </a:lnTo>
                    <a:lnTo>
                      <a:pt x="77" y="548"/>
                    </a:lnTo>
                    <a:lnTo>
                      <a:pt x="91" y="540"/>
                    </a:lnTo>
                    <a:lnTo>
                      <a:pt x="97" y="544"/>
                    </a:lnTo>
                    <a:lnTo>
                      <a:pt x="117" y="552"/>
                    </a:lnTo>
                    <a:lnTo>
                      <a:pt x="137" y="554"/>
                    </a:lnTo>
                    <a:lnTo>
                      <a:pt x="157" y="540"/>
                    </a:lnTo>
                    <a:lnTo>
                      <a:pt x="181" y="536"/>
                    </a:lnTo>
                    <a:lnTo>
                      <a:pt x="199" y="546"/>
                    </a:lnTo>
                    <a:lnTo>
                      <a:pt x="215" y="542"/>
                    </a:lnTo>
                    <a:lnTo>
                      <a:pt x="235" y="576"/>
                    </a:lnTo>
                    <a:lnTo>
                      <a:pt x="241" y="574"/>
                    </a:lnTo>
                    <a:lnTo>
                      <a:pt x="259" y="570"/>
                    </a:lnTo>
                    <a:lnTo>
                      <a:pt x="271" y="568"/>
                    </a:lnTo>
                    <a:lnTo>
                      <a:pt x="275" y="544"/>
                    </a:lnTo>
                    <a:lnTo>
                      <a:pt x="297" y="523"/>
                    </a:lnTo>
                    <a:lnTo>
                      <a:pt x="301" y="514"/>
                    </a:lnTo>
                    <a:lnTo>
                      <a:pt x="317" y="508"/>
                    </a:lnTo>
                    <a:lnTo>
                      <a:pt x="353" y="510"/>
                    </a:lnTo>
                    <a:lnTo>
                      <a:pt x="391" y="512"/>
                    </a:lnTo>
                    <a:lnTo>
                      <a:pt x="433" y="548"/>
                    </a:lnTo>
                    <a:lnTo>
                      <a:pt x="451" y="552"/>
                    </a:lnTo>
                    <a:lnTo>
                      <a:pt x="477" y="552"/>
                    </a:lnTo>
                    <a:lnTo>
                      <a:pt x="473" y="536"/>
                    </a:lnTo>
                    <a:lnTo>
                      <a:pt x="482" y="522"/>
                    </a:lnTo>
                    <a:lnTo>
                      <a:pt x="492" y="491"/>
                    </a:lnTo>
                    <a:lnTo>
                      <a:pt x="499" y="482"/>
                    </a:lnTo>
                    <a:lnTo>
                      <a:pt x="433" y="446"/>
                    </a:lnTo>
                    <a:lnTo>
                      <a:pt x="424" y="396"/>
                    </a:lnTo>
                    <a:lnTo>
                      <a:pt x="450" y="344"/>
                    </a:lnTo>
                    <a:lnTo>
                      <a:pt x="447" y="325"/>
                    </a:lnTo>
                    <a:lnTo>
                      <a:pt x="470" y="306"/>
                    </a:lnTo>
                    <a:lnTo>
                      <a:pt x="476" y="282"/>
                    </a:lnTo>
                    <a:lnTo>
                      <a:pt x="467" y="279"/>
                    </a:lnTo>
                    <a:lnTo>
                      <a:pt x="477" y="263"/>
                    </a:lnTo>
                    <a:lnTo>
                      <a:pt x="516" y="260"/>
                    </a:lnTo>
                    <a:lnTo>
                      <a:pt x="525" y="250"/>
                    </a:lnTo>
                    <a:lnTo>
                      <a:pt x="502" y="237"/>
                    </a:lnTo>
                    <a:lnTo>
                      <a:pt x="498" y="214"/>
                    </a:lnTo>
                    <a:lnTo>
                      <a:pt x="485" y="207"/>
                    </a:lnTo>
                    <a:lnTo>
                      <a:pt x="457" y="203"/>
                    </a:lnTo>
                    <a:lnTo>
                      <a:pt x="453" y="174"/>
                    </a:lnTo>
                    <a:lnTo>
                      <a:pt x="454" y="166"/>
                    </a:lnTo>
                    <a:lnTo>
                      <a:pt x="438" y="157"/>
                    </a:lnTo>
                    <a:lnTo>
                      <a:pt x="437" y="146"/>
                    </a:lnTo>
                    <a:lnTo>
                      <a:pt x="394" y="143"/>
                    </a:lnTo>
                    <a:lnTo>
                      <a:pt x="387" y="155"/>
                    </a:lnTo>
                    <a:lnTo>
                      <a:pt x="374" y="177"/>
                    </a:lnTo>
                    <a:lnTo>
                      <a:pt x="361" y="163"/>
                    </a:lnTo>
                    <a:lnTo>
                      <a:pt x="361" y="145"/>
                    </a:lnTo>
                    <a:lnTo>
                      <a:pt x="338" y="136"/>
                    </a:lnTo>
                    <a:lnTo>
                      <a:pt x="335" y="111"/>
                    </a:lnTo>
                    <a:lnTo>
                      <a:pt x="306" y="95"/>
                    </a:lnTo>
                    <a:lnTo>
                      <a:pt x="273" y="77"/>
                    </a:lnTo>
                    <a:lnTo>
                      <a:pt x="250" y="27"/>
                    </a:lnTo>
                    <a:lnTo>
                      <a:pt x="225" y="27"/>
                    </a:lnTo>
                    <a:lnTo>
                      <a:pt x="211" y="16"/>
                    </a:lnTo>
                    <a:lnTo>
                      <a:pt x="188" y="24"/>
                    </a:lnTo>
                    <a:lnTo>
                      <a:pt x="188" y="35"/>
                    </a:lnTo>
                    <a:lnTo>
                      <a:pt x="157" y="37"/>
                    </a:lnTo>
                    <a:lnTo>
                      <a:pt x="128" y="46"/>
                    </a:lnTo>
                    <a:lnTo>
                      <a:pt x="120" y="30"/>
                    </a:lnTo>
                    <a:lnTo>
                      <a:pt x="92" y="16"/>
                    </a:lnTo>
                    <a:lnTo>
                      <a:pt x="84" y="7"/>
                    </a:lnTo>
                    <a:lnTo>
                      <a:pt x="75" y="12"/>
                    </a:lnTo>
                    <a:lnTo>
                      <a:pt x="36" y="0"/>
                    </a:lnTo>
                    <a:lnTo>
                      <a:pt x="40" y="31"/>
                    </a:lnTo>
                    <a:lnTo>
                      <a:pt x="32" y="99"/>
                    </a:lnTo>
                    <a:lnTo>
                      <a:pt x="16" y="174"/>
                    </a:lnTo>
                    <a:lnTo>
                      <a:pt x="7" y="265"/>
                    </a:lnTo>
                    <a:lnTo>
                      <a:pt x="0" y="275"/>
                    </a:lnTo>
                    <a:lnTo>
                      <a:pt x="9" y="305"/>
                    </a:lnTo>
                    <a:lnTo>
                      <a:pt x="14" y="336"/>
                    </a:lnTo>
                    <a:lnTo>
                      <a:pt x="23" y="327"/>
                    </a:lnTo>
                    <a:lnTo>
                      <a:pt x="29" y="315"/>
                    </a:lnTo>
                    <a:lnTo>
                      <a:pt x="25" y="272"/>
                    </a:lnTo>
                    <a:lnTo>
                      <a:pt x="33" y="241"/>
                    </a:lnTo>
                    <a:lnTo>
                      <a:pt x="33" y="217"/>
                    </a:lnTo>
                    <a:lnTo>
                      <a:pt x="40" y="207"/>
                    </a:lnTo>
                    <a:lnTo>
                      <a:pt x="39" y="183"/>
                    </a:lnTo>
                    <a:lnTo>
                      <a:pt x="53" y="200"/>
                    </a:lnTo>
                    <a:lnTo>
                      <a:pt x="101" y="219"/>
                    </a:lnTo>
                    <a:lnTo>
                      <a:pt x="117" y="237"/>
                    </a:lnTo>
                    <a:lnTo>
                      <a:pt x="149" y="256"/>
                    </a:lnTo>
                    <a:lnTo>
                      <a:pt x="147" y="296"/>
                    </a:lnTo>
                    <a:lnTo>
                      <a:pt x="150" y="337"/>
                    </a:lnTo>
                    <a:lnTo>
                      <a:pt x="189" y="396"/>
                    </a:lnTo>
                    <a:lnTo>
                      <a:pt x="185" y="446"/>
                    </a:lnTo>
                    <a:lnTo>
                      <a:pt x="192" y="454"/>
                    </a:lnTo>
                    <a:lnTo>
                      <a:pt x="114" y="534"/>
                    </a:lnTo>
                    <a:lnTo>
                      <a:pt x="108" y="526"/>
                    </a:lnTo>
                    <a:lnTo>
                      <a:pt x="113" y="491"/>
                    </a:lnTo>
                    <a:lnTo>
                      <a:pt x="105" y="480"/>
                    </a:lnTo>
                    <a:lnTo>
                      <a:pt x="91" y="489"/>
                    </a:lnTo>
                    <a:lnTo>
                      <a:pt x="94" y="476"/>
                    </a:lnTo>
                    <a:lnTo>
                      <a:pt x="87" y="464"/>
                    </a:lnTo>
                    <a:lnTo>
                      <a:pt x="75" y="464"/>
                    </a:lnTo>
                    <a:lnTo>
                      <a:pt x="65" y="488"/>
                    </a:lnTo>
                    <a:lnTo>
                      <a:pt x="71" y="498"/>
                    </a:lnTo>
                    <a:lnTo>
                      <a:pt x="62" y="528"/>
                    </a:lnTo>
                    <a:lnTo>
                      <a:pt x="53" y="529"/>
                    </a:lnTo>
                    <a:lnTo>
                      <a:pt x="53" y="506"/>
                    </a:lnTo>
                    <a:lnTo>
                      <a:pt x="48" y="392"/>
                    </a:lnTo>
                    <a:lnTo>
                      <a:pt x="36" y="370"/>
                    </a:lnTo>
                    <a:lnTo>
                      <a:pt x="29" y="342"/>
                    </a:lnTo>
                    <a:lnTo>
                      <a:pt x="20" y="347"/>
                    </a:lnTo>
                    <a:lnTo>
                      <a:pt x="32" y="401"/>
                    </a:lnTo>
                    <a:lnTo>
                      <a:pt x="29" y="438"/>
                    </a:lnTo>
                    <a:lnTo>
                      <a:pt x="36" y="498"/>
                    </a:lnTo>
                    <a:lnTo>
                      <a:pt x="39" y="54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9875" name="Group 17"/>
              <p:cNvGrpSpPr>
                <a:grpSpLocks/>
              </p:cNvGrpSpPr>
              <p:nvPr/>
            </p:nvGrpSpPr>
            <p:grpSpPr bwMode="auto">
              <a:xfrm>
                <a:off x="522" y="1848"/>
                <a:ext cx="1103" cy="1189"/>
                <a:chOff x="522" y="1848"/>
                <a:chExt cx="1103" cy="1189"/>
              </a:xfrm>
            </p:grpSpPr>
            <p:sp>
              <p:nvSpPr>
                <p:cNvPr id="29876" name="Freeform 18"/>
                <p:cNvSpPr>
                  <a:spLocks/>
                </p:cNvSpPr>
                <p:nvPr/>
              </p:nvSpPr>
              <p:spPr bwMode="auto">
                <a:xfrm>
                  <a:off x="710" y="1990"/>
                  <a:ext cx="197" cy="366"/>
                </a:xfrm>
                <a:custGeom>
                  <a:avLst/>
                  <a:gdLst>
                    <a:gd name="T0" fmla="*/ 0 w 546"/>
                    <a:gd name="T1" fmla="*/ 0 h 990"/>
                    <a:gd name="T2" fmla="*/ 0 w 546"/>
                    <a:gd name="T3" fmla="*/ 0 h 990"/>
                    <a:gd name="T4" fmla="*/ 0 w 546"/>
                    <a:gd name="T5" fmla="*/ 0 h 990"/>
                    <a:gd name="T6" fmla="*/ 0 w 546"/>
                    <a:gd name="T7" fmla="*/ 0 h 990"/>
                    <a:gd name="T8" fmla="*/ 0 w 546"/>
                    <a:gd name="T9" fmla="*/ 0 h 990"/>
                    <a:gd name="T10" fmla="*/ 0 w 546"/>
                    <a:gd name="T11" fmla="*/ 0 h 990"/>
                    <a:gd name="T12" fmla="*/ 0 w 546"/>
                    <a:gd name="T13" fmla="*/ 0 h 990"/>
                    <a:gd name="T14" fmla="*/ 0 w 546"/>
                    <a:gd name="T15" fmla="*/ 0 h 990"/>
                    <a:gd name="T16" fmla="*/ 0 w 546"/>
                    <a:gd name="T17" fmla="*/ 0 h 990"/>
                    <a:gd name="T18" fmla="*/ 0 w 546"/>
                    <a:gd name="T19" fmla="*/ 0 h 990"/>
                    <a:gd name="T20" fmla="*/ 0 w 546"/>
                    <a:gd name="T21" fmla="*/ 0 h 990"/>
                    <a:gd name="T22" fmla="*/ 0 w 546"/>
                    <a:gd name="T23" fmla="*/ 0 h 990"/>
                    <a:gd name="T24" fmla="*/ 0 w 546"/>
                    <a:gd name="T25" fmla="*/ 0 h 990"/>
                    <a:gd name="T26" fmla="*/ 0 w 546"/>
                    <a:gd name="T27" fmla="*/ 0 h 990"/>
                    <a:gd name="T28" fmla="*/ 0 w 546"/>
                    <a:gd name="T29" fmla="*/ 0 h 990"/>
                    <a:gd name="T30" fmla="*/ 0 w 546"/>
                    <a:gd name="T31" fmla="*/ 0 h 990"/>
                    <a:gd name="T32" fmla="*/ 0 w 546"/>
                    <a:gd name="T33" fmla="*/ 0 h 990"/>
                    <a:gd name="T34" fmla="*/ 0 w 546"/>
                    <a:gd name="T35" fmla="*/ 0 h 990"/>
                    <a:gd name="T36" fmla="*/ 0 w 546"/>
                    <a:gd name="T37" fmla="*/ 0 h 990"/>
                    <a:gd name="T38" fmla="*/ 0 w 546"/>
                    <a:gd name="T39" fmla="*/ 0 h 990"/>
                    <a:gd name="T40" fmla="*/ 0 w 546"/>
                    <a:gd name="T41" fmla="*/ 0 h 990"/>
                    <a:gd name="T42" fmla="*/ 0 w 546"/>
                    <a:gd name="T43" fmla="*/ 0 h 990"/>
                    <a:gd name="T44" fmla="*/ 0 w 546"/>
                    <a:gd name="T45" fmla="*/ 0 h 990"/>
                    <a:gd name="T46" fmla="*/ 0 w 546"/>
                    <a:gd name="T47" fmla="*/ 0 h 990"/>
                    <a:gd name="T48" fmla="*/ 0 w 546"/>
                    <a:gd name="T49" fmla="*/ 0 h 990"/>
                    <a:gd name="T50" fmla="*/ 0 w 546"/>
                    <a:gd name="T51" fmla="*/ 0 h 990"/>
                    <a:gd name="T52" fmla="*/ 0 w 546"/>
                    <a:gd name="T53" fmla="*/ 0 h 990"/>
                    <a:gd name="T54" fmla="*/ 0 w 546"/>
                    <a:gd name="T55" fmla="*/ 0 h 990"/>
                    <a:gd name="T56" fmla="*/ 0 w 546"/>
                    <a:gd name="T57" fmla="*/ 0 h 990"/>
                    <a:gd name="T58" fmla="*/ 0 w 546"/>
                    <a:gd name="T59" fmla="*/ 0 h 990"/>
                    <a:gd name="T60" fmla="*/ 0 w 546"/>
                    <a:gd name="T61" fmla="*/ 0 h 990"/>
                    <a:gd name="T62" fmla="*/ 0 w 546"/>
                    <a:gd name="T63" fmla="*/ 0 h 9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46"/>
                    <a:gd name="T97" fmla="*/ 0 h 990"/>
                    <a:gd name="T98" fmla="*/ 546 w 546"/>
                    <a:gd name="T99" fmla="*/ 990 h 9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46" h="990">
                      <a:moveTo>
                        <a:pt x="543" y="723"/>
                      </a:moveTo>
                      <a:lnTo>
                        <a:pt x="462" y="735"/>
                      </a:lnTo>
                      <a:lnTo>
                        <a:pt x="423" y="714"/>
                      </a:lnTo>
                      <a:lnTo>
                        <a:pt x="393" y="639"/>
                      </a:lnTo>
                      <a:lnTo>
                        <a:pt x="351" y="645"/>
                      </a:lnTo>
                      <a:lnTo>
                        <a:pt x="345" y="612"/>
                      </a:lnTo>
                      <a:lnTo>
                        <a:pt x="381" y="579"/>
                      </a:lnTo>
                      <a:lnTo>
                        <a:pt x="336" y="480"/>
                      </a:lnTo>
                      <a:lnTo>
                        <a:pt x="318" y="378"/>
                      </a:lnTo>
                      <a:lnTo>
                        <a:pt x="288" y="366"/>
                      </a:lnTo>
                      <a:lnTo>
                        <a:pt x="264" y="315"/>
                      </a:lnTo>
                      <a:lnTo>
                        <a:pt x="306" y="291"/>
                      </a:lnTo>
                      <a:lnTo>
                        <a:pt x="354" y="267"/>
                      </a:lnTo>
                      <a:lnTo>
                        <a:pt x="354" y="195"/>
                      </a:lnTo>
                      <a:lnTo>
                        <a:pt x="324" y="156"/>
                      </a:lnTo>
                      <a:lnTo>
                        <a:pt x="315" y="105"/>
                      </a:lnTo>
                      <a:lnTo>
                        <a:pt x="354" y="18"/>
                      </a:lnTo>
                      <a:lnTo>
                        <a:pt x="336" y="0"/>
                      </a:lnTo>
                      <a:lnTo>
                        <a:pt x="279" y="18"/>
                      </a:lnTo>
                      <a:lnTo>
                        <a:pt x="252" y="45"/>
                      </a:lnTo>
                      <a:lnTo>
                        <a:pt x="174" y="66"/>
                      </a:lnTo>
                      <a:lnTo>
                        <a:pt x="147" y="24"/>
                      </a:lnTo>
                      <a:lnTo>
                        <a:pt x="87" y="33"/>
                      </a:lnTo>
                      <a:lnTo>
                        <a:pt x="57" y="45"/>
                      </a:lnTo>
                      <a:lnTo>
                        <a:pt x="18" y="42"/>
                      </a:lnTo>
                      <a:lnTo>
                        <a:pt x="12" y="78"/>
                      </a:lnTo>
                      <a:lnTo>
                        <a:pt x="93" y="144"/>
                      </a:lnTo>
                      <a:lnTo>
                        <a:pt x="135" y="180"/>
                      </a:lnTo>
                      <a:lnTo>
                        <a:pt x="174" y="264"/>
                      </a:lnTo>
                      <a:lnTo>
                        <a:pt x="207" y="339"/>
                      </a:lnTo>
                      <a:lnTo>
                        <a:pt x="246" y="390"/>
                      </a:lnTo>
                      <a:lnTo>
                        <a:pt x="276" y="378"/>
                      </a:lnTo>
                      <a:lnTo>
                        <a:pt x="300" y="390"/>
                      </a:lnTo>
                      <a:lnTo>
                        <a:pt x="270" y="447"/>
                      </a:lnTo>
                      <a:lnTo>
                        <a:pt x="243" y="477"/>
                      </a:lnTo>
                      <a:lnTo>
                        <a:pt x="222" y="483"/>
                      </a:lnTo>
                      <a:lnTo>
                        <a:pt x="204" y="516"/>
                      </a:lnTo>
                      <a:lnTo>
                        <a:pt x="168" y="513"/>
                      </a:lnTo>
                      <a:lnTo>
                        <a:pt x="171" y="606"/>
                      </a:lnTo>
                      <a:lnTo>
                        <a:pt x="162" y="711"/>
                      </a:lnTo>
                      <a:lnTo>
                        <a:pt x="117" y="771"/>
                      </a:lnTo>
                      <a:lnTo>
                        <a:pt x="111" y="807"/>
                      </a:lnTo>
                      <a:lnTo>
                        <a:pt x="78" y="846"/>
                      </a:lnTo>
                      <a:lnTo>
                        <a:pt x="18" y="855"/>
                      </a:lnTo>
                      <a:lnTo>
                        <a:pt x="0" y="888"/>
                      </a:lnTo>
                      <a:lnTo>
                        <a:pt x="0" y="930"/>
                      </a:lnTo>
                      <a:lnTo>
                        <a:pt x="69" y="966"/>
                      </a:lnTo>
                      <a:lnTo>
                        <a:pt x="66" y="990"/>
                      </a:lnTo>
                      <a:lnTo>
                        <a:pt x="99" y="990"/>
                      </a:lnTo>
                      <a:lnTo>
                        <a:pt x="117" y="963"/>
                      </a:lnTo>
                      <a:lnTo>
                        <a:pt x="189" y="960"/>
                      </a:lnTo>
                      <a:lnTo>
                        <a:pt x="201" y="918"/>
                      </a:lnTo>
                      <a:lnTo>
                        <a:pt x="222" y="876"/>
                      </a:lnTo>
                      <a:lnTo>
                        <a:pt x="282" y="891"/>
                      </a:lnTo>
                      <a:lnTo>
                        <a:pt x="285" y="918"/>
                      </a:lnTo>
                      <a:lnTo>
                        <a:pt x="300" y="936"/>
                      </a:lnTo>
                      <a:lnTo>
                        <a:pt x="321" y="921"/>
                      </a:lnTo>
                      <a:lnTo>
                        <a:pt x="330" y="879"/>
                      </a:lnTo>
                      <a:lnTo>
                        <a:pt x="396" y="903"/>
                      </a:lnTo>
                      <a:lnTo>
                        <a:pt x="408" y="951"/>
                      </a:lnTo>
                      <a:lnTo>
                        <a:pt x="480" y="951"/>
                      </a:lnTo>
                      <a:lnTo>
                        <a:pt x="513" y="906"/>
                      </a:lnTo>
                      <a:lnTo>
                        <a:pt x="537" y="849"/>
                      </a:lnTo>
                      <a:lnTo>
                        <a:pt x="546" y="777"/>
                      </a:lnTo>
                      <a:lnTo>
                        <a:pt x="543" y="72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7" name="Freeform 19"/>
                <p:cNvSpPr>
                  <a:spLocks/>
                </p:cNvSpPr>
                <p:nvPr/>
              </p:nvSpPr>
              <p:spPr bwMode="auto">
                <a:xfrm>
                  <a:off x="522" y="1981"/>
                  <a:ext cx="268" cy="431"/>
                </a:xfrm>
                <a:custGeom>
                  <a:avLst/>
                  <a:gdLst>
                    <a:gd name="T0" fmla="*/ 0 w 744"/>
                    <a:gd name="T1" fmla="*/ 0 h 1167"/>
                    <a:gd name="T2" fmla="*/ 0 w 744"/>
                    <a:gd name="T3" fmla="*/ 0 h 1167"/>
                    <a:gd name="T4" fmla="*/ 0 w 744"/>
                    <a:gd name="T5" fmla="*/ 0 h 1167"/>
                    <a:gd name="T6" fmla="*/ 0 w 744"/>
                    <a:gd name="T7" fmla="*/ 0 h 1167"/>
                    <a:gd name="T8" fmla="*/ 0 w 744"/>
                    <a:gd name="T9" fmla="*/ 0 h 1167"/>
                    <a:gd name="T10" fmla="*/ 0 w 744"/>
                    <a:gd name="T11" fmla="*/ 0 h 1167"/>
                    <a:gd name="T12" fmla="*/ 0 w 744"/>
                    <a:gd name="T13" fmla="*/ 0 h 1167"/>
                    <a:gd name="T14" fmla="*/ 0 w 744"/>
                    <a:gd name="T15" fmla="*/ 0 h 1167"/>
                    <a:gd name="T16" fmla="*/ 0 w 744"/>
                    <a:gd name="T17" fmla="*/ 0 h 1167"/>
                    <a:gd name="T18" fmla="*/ 0 w 744"/>
                    <a:gd name="T19" fmla="*/ 0 h 1167"/>
                    <a:gd name="T20" fmla="*/ 0 w 744"/>
                    <a:gd name="T21" fmla="*/ 0 h 1167"/>
                    <a:gd name="T22" fmla="*/ 0 w 744"/>
                    <a:gd name="T23" fmla="*/ 0 h 1167"/>
                    <a:gd name="T24" fmla="*/ 0 w 744"/>
                    <a:gd name="T25" fmla="*/ 0 h 1167"/>
                    <a:gd name="T26" fmla="*/ 0 w 744"/>
                    <a:gd name="T27" fmla="*/ 0 h 1167"/>
                    <a:gd name="T28" fmla="*/ 0 w 744"/>
                    <a:gd name="T29" fmla="*/ 0 h 1167"/>
                    <a:gd name="T30" fmla="*/ 0 w 744"/>
                    <a:gd name="T31" fmla="*/ 0 h 1167"/>
                    <a:gd name="T32" fmla="*/ 0 w 744"/>
                    <a:gd name="T33" fmla="*/ 0 h 1167"/>
                    <a:gd name="T34" fmla="*/ 0 w 744"/>
                    <a:gd name="T35" fmla="*/ 0 h 1167"/>
                    <a:gd name="T36" fmla="*/ 0 w 744"/>
                    <a:gd name="T37" fmla="*/ 0 h 1167"/>
                    <a:gd name="T38" fmla="*/ 0 w 744"/>
                    <a:gd name="T39" fmla="*/ 0 h 1167"/>
                    <a:gd name="T40" fmla="*/ 0 w 744"/>
                    <a:gd name="T41" fmla="*/ 0 h 1167"/>
                    <a:gd name="T42" fmla="*/ 0 w 744"/>
                    <a:gd name="T43" fmla="*/ 0 h 1167"/>
                    <a:gd name="T44" fmla="*/ 0 w 744"/>
                    <a:gd name="T45" fmla="*/ 0 h 1167"/>
                    <a:gd name="T46" fmla="*/ 0 w 744"/>
                    <a:gd name="T47" fmla="*/ 0 h 1167"/>
                    <a:gd name="T48" fmla="*/ 0 w 744"/>
                    <a:gd name="T49" fmla="*/ 0 h 1167"/>
                    <a:gd name="T50" fmla="*/ 0 w 744"/>
                    <a:gd name="T51" fmla="*/ 0 h 1167"/>
                    <a:gd name="T52" fmla="*/ 0 w 744"/>
                    <a:gd name="T53" fmla="*/ 0 h 1167"/>
                    <a:gd name="T54" fmla="*/ 0 w 744"/>
                    <a:gd name="T55" fmla="*/ 0 h 1167"/>
                    <a:gd name="T56" fmla="*/ 0 w 744"/>
                    <a:gd name="T57" fmla="*/ 0 h 1167"/>
                    <a:gd name="T58" fmla="*/ 0 w 744"/>
                    <a:gd name="T59" fmla="*/ 0 h 1167"/>
                    <a:gd name="T60" fmla="*/ 0 w 744"/>
                    <a:gd name="T61" fmla="*/ 0 h 1167"/>
                    <a:gd name="T62" fmla="*/ 0 w 744"/>
                    <a:gd name="T63" fmla="*/ 0 h 1167"/>
                    <a:gd name="T64" fmla="*/ 0 w 744"/>
                    <a:gd name="T65" fmla="*/ 0 h 1167"/>
                    <a:gd name="T66" fmla="*/ 0 w 744"/>
                    <a:gd name="T67" fmla="*/ 0 h 1167"/>
                    <a:gd name="T68" fmla="*/ 0 w 744"/>
                    <a:gd name="T69" fmla="*/ 0 h 1167"/>
                    <a:gd name="T70" fmla="*/ 0 w 744"/>
                    <a:gd name="T71" fmla="*/ 0 h 1167"/>
                    <a:gd name="T72" fmla="*/ 0 w 744"/>
                    <a:gd name="T73" fmla="*/ 0 h 1167"/>
                    <a:gd name="T74" fmla="*/ 0 w 744"/>
                    <a:gd name="T75" fmla="*/ 0 h 1167"/>
                    <a:gd name="T76" fmla="*/ 0 w 744"/>
                    <a:gd name="T77" fmla="*/ 0 h 1167"/>
                    <a:gd name="T78" fmla="*/ 0 w 744"/>
                    <a:gd name="T79" fmla="*/ 0 h 1167"/>
                    <a:gd name="T80" fmla="*/ 0 w 744"/>
                    <a:gd name="T81" fmla="*/ 0 h 1167"/>
                    <a:gd name="T82" fmla="*/ 0 w 744"/>
                    <a:gd name="T83" fmla="*/ 0 h 1167"/>
                    <a:gd name="T84" fmla="*/ 0 w 744"/>
                    <a:gd name="T85" fmla="*/ 0 h 1167"/>
                    <a:gd name="T86" fmla="*/ 0 w 744"/>
                    <a:gd name="T87" fmla="*/ 0 h 1167"/>
                    <a:gd name="T88" fmla="*/ 0 w 744"/>
                    <a:gd name="T89" fmla="*/ 0 h 1167"/>
                    <a:gd name="T90" fmla="*/ 0 w 744"/>
                    <a:gd name="T91" fmla="*/ 0 h 1167"/>
                    <a:gd name="T92" fmla="*/ 0 w 744"/>
                    <a:gd name="T93" fmla="*/ 0 h 1167"/>
                    <a:gd name="T94" fmla="*/ 0 w 744"/>
                    <a:gd name="T95" fmla="*/ 0 h 1167"/>
                    <a:gd name="T96" fmla="*/ 0 w 744"/>
                    <a:gd name="T97" fmla="*/ 0 h 1167"/>
                    <a:gd name="T98" fmla="*/ 0 w 744"/>
                    <a:gd name="T99" fmla="*/ 0 h 1167"/>
                    <a:gd name="T100" fmla="*/ 0 w 744"/>
                    <a:gd name="T101" fmla="*/ 0 h 1167"/>
                    <a:gd name="T102" fmla="*/ 0 w 744"/>
                    <a:gd name="T103" fmla="*/ 0 h 1167"/>
                    <a:gd name="T104" fmla="*/ 0 w 744"/>
                    <a:gd name="T105" fmla="*/ 0 h 1167"/>
                    <a:gd name="T106" fmla="*/ 0 w 744"/>
                    <a:gd name="T107" fmla="*/ 0 h 1167"/>
                    <a:gd name="T108" fmla="*/ 0 w 744"/>
                    <a:gd name="T109" fmla="*/ 0 h 1167"/>
                    <a:gd name="T110" fmla="*/ 0 w 744"/>
                    <a:gd name="T111" fmla="*/ 0 h 1167"/>
                    <a:gd name="T112" fmla="*/ 0 w 744"/>
                    <a:gd name="T113" fmla="*/ 0 h 1167"/>
                    <a:gd name="T114" fmla="*/ 0 w 744"/>
                    <a:gd name="T115" fmla="*/ 0 h 1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44"/>
                    <a:gd name="T175" fmla="*/ 0 h 1167"/>
                    <a:gd name="T176" fmla="*/ 744 w 744"/>
                    <a:gd name="T177" fmla="*/ 1167 h 11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44" h="1167">
                      <a:moveTo>
                        <a:pt x="240" y="1167"/>
                      </a:moveTo>
                      <a:lnTo>
                        <a:pt x="288" y="1161"/>
                      </a:lnTo>
                      <a:lnTo>
                        <a:pt x="318" y="1110"/>
                      </a:lnTo>
                      <a:lnTo>
                        <a:pt x="318" y="1074"/>
                      </a:lnTo>
                      <a:lnTo>
                        <a:pt x="363" y="1113"/>
                      </a:lnTo>
                      <a:lnTo>
                        <a:pt x="399" y="1098"/>
                      </a:lnTo>
                      <a:lnTo>
                        <a:pt x="429" y="1056"/>
                      </a:lnTo>
                      <a:lnTo>
                        <a:pt x="483" y="1062"/>
                      </a:lnTo>
                      <a:lnTo>
                        <a:pt x="513" y="1020"/>
                      </a:lnTo>
                      <a:lnTo>
                        <a:pt x="588" y="1014"/>
                      </a:lnTo>
                      <a:lnTo>
                        <a:pt x="588" y="984"/>
                      </a:lnTo>
                      <a:lnTo>
                        <a:pt x="519" y="948"/>
                      </a:lnTo>
                      <a:lnTo>
                        <a:pt x="522" y="921"/>
                      </a:lnTo>
                      <a:lnTo>
                        <a:pt x="534" y="882"/>
                      </a:lnTo>
                      <a:lnTo>
                        <a:pt x="588" y="870"/>
                      </a:lnTo>
                      <a:lnTo>
                        <a:pt x="630" y="834"/>
                      </a:lnTo>
                      <a:lnTo>
                        <a:pt x="633" y="798"/>
                      </a:lnTo>
                      <a:lnTo>
                        <a:pt x="681" y="735"/>
                      </a:lnTo>
                      <a:lnTo>
                        <a:pt x="693" y="642"/>
                      </a:lnTo>
                      <a:lnTo>
                        <a:pt x="687" y="537"/>
                      </a:lnTo>
                      <a:lnTo>
                        <a:pt x="723" y="537"/>
                      </a:lnTo>
                      <a:lnTo>
                        <a:pt x="744" y="504"/>
                      </a:lnTo>
                      <a:lnTo>
                        <a:pt x="504" y="396"/>
                      </a:lnTo>
                      <a:lnTo>
                        <a:pt x="390" y="405"/>
                      </a:lnTo>
                      <a:lnTo>
                        <a:pt x="360" y="423"/>
                      </a:lnTo>
                      <a:lnTo>
                        <a:pt x="354" y="480"/>
                      </a:lnTo>
                      <a:lnTo>
                        <a:pt x="324" y="465"/>
                      </a:lnTo>
                      <a:lnTo>
                        <a:pt x="324" y="372"/>
                      </a:lnTo>
                      <a:lnTo>
                        <a:pt x="366" y="360"/>
                      </a:lnTo>
                      <a:lnTo>
                        <a:pt x="345" y="312"/>
                      </a:lnTo>
                      <a:lnTo>
                        <a:pt x="267" y="324"/>
                      </a:lnTo>
                      <a:lnTo>
                        <a:pt x="213" y="249"/>
                      </a:lnTo>
                      <a:lnTo>
                        <a:pt x="114" y="231"/>
                      </a:lnTo>
                      <a:lnTo>
                        <a:pt x="135" y="183"/>
                      </a:lnTo>
                      <a:lnTo>
                        <a:pt x="198" y="171"/>
                      </a:lnTo>
                      <a:lnTo>
                        <a:pt x="192" y="135"/>
                      </a:lnTo>
                      <a:lnTo>
                        <a:pt x="159" y="120"/>
                      </a:lnTo>
                      <a:lnTo>
                        <a:pt x="180" y="69"/>
                      </a:lnTo>
                      <a:lnTo>
                        <a:pt x="213" y="57"/>
                      </a:lnTo>
                      <a:lnTo>
                        <a:pt x="210" y="39"/>
                      </a:lnTo>
                      <a:lnTo>
                        <a:pt x="183" y="0"/>
                      </a:lnTo>
                      <a:lnTo>
                        <a:pt x="153" y="9"/>
                      </a:lnTo>
                      <a:lnTo>
                        <a:pt x="129" y="69"/>
                      </a:lnTo>
                      <a:lnTo>
                        <a:pt x="69" y="249"/>
                      </a:lnTo>
                      <a:lnTo>
                        <a:pt x="21" y="477"/>
                      </a:lnTo>
                      <a:lnTo>
                        <a:pt x="0" y="588"/>
                      </a:lnTo>
                      <a:lnTo>
                        <a:pt x="24" y="684"/>
                      </a:lnTo>
                      <a:lnTo>
                        <a:pt x="24" y="843"/>
                      </a:lnTo>
                      <a:lnTo>
                        <a:pt x="18" y="900"/>
                      </a:lnTo>
                      <a:lnTo>
                        <a:pt x="3" y="1020"/>
                      </a:lnTo>
                      <a:lnTo>
                        <a:pt x="24" y="1023"/>
                      </a:lnTo>
                      <a:lnTo>
                        <a:pt x="27" y="978"/>
                      </a:lnTo>
                      <a:lnTo>
                        <a:pt x="54" y="888"/>
                      </a:lnTo>
                      <a:lnTo>
                        <a:pt x="93" y="885"/>
                      </a:lnTo>
                      <a:lnTo>
                        <a:pt x="96" y="960"/>
                      </a:lnTo>
                      <a:lnTo>
                        <a:pt x="102" y="1026"/>
                      </a:lnTo>
                      <a:lnTo>
                        <a:pt x="144" y="1092"/>
                      </a:lnTo>
                      <a:lnTo>
                        <a:pt x="240" y="116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8" name="Freeform 20"/>
                <p:cNvSpPr>
                  <a:spLocks/>
                </p:cNvSpPr>
                <p:nvPr/>
              </p:nvSpPr>
              <p:spPr bwMode="auto">
                <a:xfrm>
                  <a:off x="890" y="1848"/>
                  <a:ext cx="409" cy="395"/>
                </a:xfrm>
                <a:custGeom>
                  <a:avLst/>
                  <a:gdLst>
                    <a:gd name="T0" fmla="*/ 52 w 409"/>
                    <a:gd name="T1" fmla="*/ 297 h 395"/>
                    <a:gd name="T2" fmla="*/ 13 w 409"/>
                    <a:gd name="T3" fmla="*/ 249 h 395"/>
                    <a:gd name="T4" fmla="*/ 2 w 409"/>
                    <a:gd name="T5" fmla="*/ 220 h 395"/>
                    <a:gd name="T6" fmla="*/ 36 w 409"/>
                    <a:gd name="T7" fmla="*/ 227 h 395"/>
                    <a:gd name="T8" fmla="*/ 70 w 409"/>
                    <a:gd name="T9" fmla="*/ 166 h 395"/>
                    <a:gd name="T10" fmla="*/ 121 w 409"/>
                    <a:gd name="T11" fmla="*/ 139 h 395"/>
                    <a:gd name="T12" fmla="*/ 151 w 409"/>
                    <a:gd name="T13" fmla="*/ 136 h 395"/>
                    <a:gd name="T14" fmla="*/ 169 w 409"/>
                    <a:gd name="T15" fmla="*/ 123 h 395"/>
                    <a:gd name="T16" fmla="*/ 144 w 409"/>
                    <a:gd name="T17" fmla="*/ 114 h 395"/>
                    <a:gd name="T18" fmla="*/ 111 w 409"/>
                    <a:gd name="T19" fmla="*/ 93 h 395"/>
                    <a:gd name="T20" fmla="*/ 129 w 409"/>
                    <a:gd name="T21" fmla="*/ 54 h 395"/>
                    <a:gd name="T22" fmla="*/ 166 w 409"/>
                    <a:gd name="T23" fmla="*/ 30 h 395"/>
                    <a:gd name="T24" fmla="*/ 199 w 409"/>
                    <a:gd name="T25" fmla="*/ 3 h 395"/>
                    <a:gd name="T26" fmla="*/ 244 w 409"/>
                    <a:gd name="T27" fmla="*/ 18 h 395"/>
                    <a:gd name="T28" fmla="*/ 268 w 409"/>
                    <a:gd name="T29" fmla="*/ 1 h 395"/>
                    <a:gd name="T30" fmla="*/ 305 w 409"/>
                    <a:gd name="T31" fmla="*/ 61 h 395"/>
                    <a:gd name="T32" fmla="*/ 327 w 409"/>
                    <a:gd name="T33" fmla="*/ 98 h 395"/>
                    <a:gd name="T34" fmla="*/ 339 w 409"/>
                    <a:gd name="T35" fmla="*/ 122 h 395"/>
                    <a:gd name="T36" fmla="*/ 300 w 409"/>
                    <a:gd name="T37" fmla="*/ 163 h 395"/>
                    <a:gd name="T38" fmla="*/ 286 w 409"/>
                    <a:gd name="T39" fmla="*/ 201 h 395"/>
                    <a:gd name="T40" fmla="*/ 259 w 409"/>
                    <a:gd name="T41" fmla="*/ 242 h 395"/>
                    <a:gd name="T42" fmla="*/ 260 w 409"/>
                    <a:gd name="T43" fmla="*/ 305 h 395"/>
                    <a:gd name="T44" fmla="*/ 280 w 409"/>
                    <a:gd name="T45" fmla="*/ 288 h 395"/>
                    <a:gd name="T46" fmla="*/ 284 w 409"/>
                    <a:gd name="T47" fmla="*/ 249 h 395"/>
                    <a:gd name="T48" fmla="*/ 303 w 409"/>
                    <a:gd name="T49" fmla="*/ 259 h 395"/>
                    <a:gd name="T50" fmla="*/ 317 w 409"/>
                    <a:gd name="T51" fmla="*/ 239 h 395"/>
                    <a:gd name="T52" fmla="*/ 311 w 409"/>
                    <a:gd name="T53" fmla="*/ 209 h 395"/>
                    <a:gd name="T54" fmla="*/ 328 w 409"/>
                    <a:gd name="T55" fmla="*/ 185 h 395"/>
                    <a:gd name="T56" fmla="*/ 332 w 409"/>
                    <a:gd name="T57" fmla="*/ 224 h 395"/>
                    <a:gd name="T58" fmla="*/ 357 w 409"/>
                    <a:gd name="T59" fmla="*/ 215 h 395"/>
                    <a:gd name="T60" fmla="*/ 394 w 409"/>
                    <a:gd name="T61" fmla="*/ 220 h 395"/>
                    <a:gd name="T62" fmla="*/ 407 w 409"/>
                    <a:gd name="T63" fmla="*/ 260 h 395"/>
                    <a:gd name="T64" fmla="*/ 368 w 409"/>
                    <a:gd name="T65" fmla="*/ 319 h 395"/>
                    <a:gd name="T66" fmla="*/ 323 w 409"/>
                    <a:gd name="T67" fmla="*/ 352 h 395"/>
                    <a:gd name="T68" fmla="*/ 274 w 409"/>
                    <a:gd name="T69" fmla="*/ 337 h 395"/>
                    <a:gd name="T70" fmla="*/ 229 w 409"/>
                    <a:gd name="T71" fmla="*/ 343 h 395"/>
                    <a:gd name="T72" fmla="*/ 203 w 409"/>
                    <a:gd name="T73" fmla="*/ 348 h 395"/>
                    <a:gd name="T74" fmla="*/ 210 w 409"/>
                    <a:gd name="T75" fmla="*/ 383 h 395"/>
                    <a:gd name="T76" fmla="*/ 171 w 409"/>
                    <a:gd name="T77" fmla="*/ 377 h 395"/>
                    <a:gd name="T78" fmla="*/ 129 w 409"/>
                    <a:gd name="T79" fmla="*/ 362 h 395"/>
                    <a:gd name="T80" fmla="*/ 121 w 409"/>
                    <a:gd name="T81" fmla="*/ 324 h 395"/>
                    <a:gd name="T82" fmla="*/ 58 w 409"/>
                    <a:gd name="T83" fmla="*/ 313 h 3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9"/>
                    <a:gd name="T127" fmla="*/ 0 h 395"/>
                    <a:gd name="T128" fmla="*/ 409 w 409"/>
                    <a:gd name="T129" fmla="*/ 395 h 3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9" h="395">
                      <a:moveTo>
                        <a:pt x="58" y="313"/>
                      </a:moveTo>
                      <a:lnTo>
                        <a:pt x="52" y="297"/>
                      </a:lnTo>
                      <a:lnTo>
                        <a:pt x="18" y="269"/>
                      </a:lnTo>
                      <a:lnTo>
                        <a:pt x="13" y="249"/>
                      </a:lnTo>
                      <a:lnTo>
                        <a:pt x="0" y="242"/>
                      </a:lnTo>
                      <a:lnTo>
                        <a:pt x="2" y="220"/>
                      </a:lnTo>
                      <a:lnTo>
                        <a:pt x="15" y="221"/>
                      </a:lnTo>
                      <a:lnTo>
                        <a:pt x="36" y="227"/>
                      </a:lnTo>
                      <a:lnTo>
                        <a:pt x="74" y="190"/>
                      </a:lnTo>
                      <a:lnTo>
                        <a:pt x="70" y="166"/>
                      </a:lnTo>
                      <a:lnTo>
                        <a:pt x="99" y="134"/>
                      </a:lnTo>
                      <a:lnTo>
                        <a:pt x="121" y="139"/>
                      </a:lnTo>
                      <a:lnTo>
                        <a:pt x="138" y="128"/>
                      </a:lnTo>
                      <a:lnTo>
                        <a:pt x="151" y="136"/>
                      </a:lnTo>
                      <a:lnTo>
                        <a:pt x="163" y="133"/>
                      </a:lnTo>
                      <a:lnTo>
                        <a:pt x="169" y="123"/>
                      </a:lnTo>
                      <a:lnTo>
                        <a:pt x="149" y="107"/>
                      </a:lnTo>
                      <a:lnTo>
                        <a:pt x="144" y="114"/>
                      </a:lnTo>
                      <a:lnTo>
                        <a:pt x="112" y="117"/>
                      </a:lnTo>
                      <a:lnTo>
                        <a:pt x="111" y="93"/>
                      </a:lnTo>
                      <a:lnTo>
                        <a:pt x="126" y="80"/>
                      </a:lnTo>
                      <a:lnTo>
                        <a:pt x="129" y="54"/>
                      </a:lnTo>
                      <a:lnTo>
                        <a:pt x="145" y="38"/>
                      </a:lnTo>
                      <a:lnTo>
                        <a:pt x="166" y="30"/>
                      </a:lnTo>
                      <a:lnTo>
                        <a:pt x="176" y="12"/>
                      </a:lnTo>
                      <a:lnTo>
                        <a:pt x="199" y="3"/>
                      </a:lnTo>
                      <a:lnTo>
                        <a:pt x="228" y="18"/>
                      </a:lnTo>
                      <a:lnTo>
                        <a:pt x="244" y="18"/>
                      </a:lnTo>
                      <a:lnTo>
                        <a:pt x="245" y="0"/>
                      </a:lnTo>
                      <a:lnTo>
                        <a:pt x="268" y="1"/>
                      </a:lnTo>
                      <a:lnTo>
                        <a:pt x="302" y="18"/>
                      </a:lnTo>
                      <a:lnTo>
                        <a:pt x="305" y="61"/>
                      </a:lnTo>
                      <a:lnTo>
                        <a:pt x="313" y="81"/>
                      </a:lnTo>
                      <a:lnTo>
                        <a:pt x="327" y="98"/>
                      </a:lnTo>
                      <a:lnTo>
                        <a:pt x="338" y="109"/>
                      </a:lnTo>
                      <a:lnTo>
                        <a:pt x="339" y="122"/>
                      </a:lnTo>
                      <a:lnTo>
                        <a:pt x="314" y="136"/>
                      </a:lnTo>
                      <a:lnTo>
                        <a:pt x="300" y="163"/>
                      </a:lnTo>
                      <a:lnTo>
                        <a:pt x="286" y="179"/>
                      </a:lnTo>
                      <a:lnTo>
                        <a:pt x="286" y="201"/>
                      </a:lnTo>
                      <a:lnTo>
                        <a:pt x="263" y="220"/>
                      </a:lnTo>
                      <a:lnTo>
                        <a:pt x="259" y="242"/>
                      </a:lnTo>
                      <a:lnTo>
                        <a:pt x="250" y="244"/>
                      </a:lnTo>
                      <a:lnTo>
                        <a:pt x="260" y="305"/>
                      </a:lnTo>
                      <a:lnTo>
                        <a:pt x="274" y="304"/>
                      </a:lnTo>
                      <a:lnTo>
                        <a:pt x="280" y="288"/>
                      </a:lnTo>
                      <a:lnTo>
                        <a:pt x="280" y="265"/>
                      </a:lnTo>
                      <a:lnTo>
                        <a:pt x="284" y="249"/>
                      </a:lnTo>
                      <a:lnTo>
                        <a:pt x="299" y="250"/>
                      </a:lnTo>
                      <a:lnTo>
                        <a:pt x="303" y="259"/>
                      </a:lnTo>
                      <a:lnTo>
                        <a:pt x="314" y="252"/>
                      </a:lnTo>
                      <a:lnTo>
                        <a:pt x="317" y="239"/>
                      </a:lnTo>
                      <a:lnTo>
                        <a:pt x="289" y="232"/>
                      </a:lnTo>
                      <a:lnTo>
                        <a:pt x="311" y="209"/>
                      </a:lnTo>
                      <a:lnTo>
                        <a:pt x="311" y="183"/>
                      </a:lnTo>
                      <a:lnTo>
                        <a:pt x="328" y="185"/>
                      </a:lnTo>
                      <a:lnTo>
                        <a:pt x="325" y="207"/>
                      </a:lnTo>
                      <a:lnTo>
                        <a:pt x="332" y="224"/>
                      </a:lnTo>
                      <a:lnTo>
                        <a:pt x="352" y="223"/>
                      </a:lnTo>
                      <a:lnTo>
                        <a:pt x="357" y="215"/>
                      </a:lnTo>
                      <a:lnTo>
                        <a:pt x="376" y="223"/>
                      </a:lnTo>
                      <a:lnTo>
                        <a:pt x="394" y="220"/>
                      </a:lnTo>
                      <a:lnTo>
                        <a:pt x="409" y="232"/>
                      </a:lnTo>
                      <a:lnTo>
                        <a:pt x="407" y="260"/>
                      </a:lnTo>
                      <a:lnTo>
                        <a:pt x="384" y="283"/>
                      </a:lnTo>
                      <a:lnTo>
                        <a:pt x="368" y="319"/>
                      </a:lnTo>
                      <a:lnTo>
                        <a:pt x="345" y="344"/>
                      </a:lnTo>
                      <a:lnTo>
                        <a:pt x="323" y="352"/>
                      </a:lnTo>
                      <a:lnTo>
                        <a:pt x="297" y="351"/>
                      </a:lnTo>
                      <a:lnTo>
                        <a:pt x="274" y="337"/>
                      </a:lnTo>
                      <a:lnTo>
                        <a:pt x="253" y="343"/>
                      </a:lnTo>
                      <a:lnTo>
                        <a:pt x="229" y="343"/>
                      </a:lnTo>
                      <a:lnTo>
                        <a:pt x="215" y="357"/>
                      </a:lnTo>
                      <a:lnTo>
                        <a:pt x="203" y="348"/>
                      </a:lnTo>
                      <a:lnTo>
                        <a:pt x="204" y="372"/>
                      </a:lnTo>
                      <a:lnTo>
                        <a:pt x="210" y="383"/>
                      </a:lnTo>
                      <a:lnTo>
                        <a:pt x="205" y="395"/>
                      </a:lnTo>
                      <a:lnTo>
                        <a:pt x="171" y="377"/>
                      </a:lnTo>
                      <a:lnTo>
                        <a:pt x="129" y="379"/>
                      </a:lnTo>
                      <a:lnTo>
                        <a:pt x="129" y="362"/>
                      </a:lnTo>
                      <a:lnTo>
                        <a:pt x="121" y="344"/>
                      </a:lnTo>
                      <a:lnTo>
                        <a:pt x="121" y="324"/>
                      </a:lnTo>
                      <a:lnTo>
                        <a:pt x="94" y="303"/>
                      </a:lnTo>
                      <a:lnTo>
                        <a:pt x="58" y="31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9" name="Freeform 21"/>
                <p:cNvSpPr>
                  <a:spLocks/>
                </p:cNvSpPr>
                <p:nvPr/>
              </p:nvSpPr>
              <p:spPr bwMode="auto">
                <a:xfrm>
                  <a:off x="1092" y="2017"/>
                  <a:ext cx="533" cy="557"/>
                </a:xfrm>
                <a:custGeom>
                  <a:avLst/>
                  <a:gdLst>
                    <a:gd name="T0" fmla="*/ 521 w 533"/>
                    <a:gd name="T1" fmla="*/ 229 h 557"/>
                    <a:gd name="T2" fmla="*/ 527 w 533"/>
                    <a:gd name="T3" fmla="*/ 163 h 557"/>
                    <a:gd name="T4" fmla="*/ 516 w 533"/>
                    <a:gd name="T5" fmla="*/ 140 h 557"/>
                    <a:gd name="T6" fmla="*/ 496 w 533"/>
                    <a:gd name="T7" fmla="*/ 106 h 557"/>
                    <a:gd name="T8" fmla="*/ 471 w 533"/>
                    <a:gd name="T9" fmla="*/ 97 h 557"/>
                    <a:gd name="T10" fmla="*/ 441 w 533"/>
                    <a:gd name="T11" fmla="*/ 93 h 557"/>
                    <a:gd name="T12" fmla="*/ 462 w 533"/>
                    <a:gd name="T13" fmla="*/ 72 h 557"/>
                    <a:gd name="T14" fmla="*/ 419 w 533"/>
                    <a:gd name="T15" fmla="*/ 41 h 557"/>
                    <a:gd name="T16" fmla="*/ 379 w 533"/>
                    <a:gd name="T17" fmla="*/ 47 h 557"/>
                    <a:gd name="T18" fmla="*/ 350 w 533"/>
                    <a:gd name="T19" fmla="*/ 4 h 557"/>
                    <a:gd name="T20" fmla="*/ 311 w 533"/>
                    <a:gd name="T21" fmla="*/ 37 h 557"/>
                    <a:gd name="T22" fmla="*/ 272 w 533"/>
                    <a:gd name="T23" fmla="*/ 8 h 557"/>
                    <a:gd name="T24" fmla="*/ 225 w 533"/>
                    <a:gd name="T25" fmla="*/ 25 h 557"/>
                    <a:gd name="T26" fmla="*/ 222 w 533"/>
                    <a:gd name="T27" fmla="*/ 74 h 557"/>
                    <a:gd name="T28" fmla="*/ 211 w 533"/>
                    <a:gd name="T29" fmla="*/ 141 h 557"/>
                    <a:gd name="T30" fmla="*/ 248 w 533"/>
                    <a:gd name="T31" fmla="*/ 127 h 557"/>
                    <a:gd name="T32" fmla="*/ 255 w 533"/>
                    <a:gd name="T33" fmla="*/ 164 h 557"/>
                    <a:gd name="T34" fmla="*/ 217 w 533"/>
                    <a:gd name="T35" fmla="*/ 178 h 557"/>
                    <a:gd name="T36" fmla="*/ 201 w 533"/>
                    <a:gd name="T37" fmla="*/ 163 h 557"/>
                    <a:gd name="T38" fmla="*/ 188 w 533"/>
                    <a:gd name="T39" fmla="*/ 102 h 557"/>
                    <a:gd name="T40" fmla="*/ 143 w 533"/>
                    <a:gd name="T41" fmla="*/ 174 h 557"/>
                    <a:gd name="T42" fmla="*/ 93 w 533"/>
                    <a:gd name="T43" fmla="*/ 183 h 557"/>
                    <a:gd name="T44" fmla="*/ 52 w 533"/>
                    <a:gd name="T45" fmla="*/ 175 h 557"/>
                    <a:gd name="T46" fmla="*/ 11 w 533"/>
                    <a:gd name="T47" fmla="*/ 187 h 557"/>
                    <a:gd name="T48" fmla="*/ 0 w 533"/>
                    <a:gd name="T49" fmla="*/ 205 h 557"/>
                    <a:gd name="T50" fmla="*/ 4 w 533"/>
                    <a:gd name="T51" fmla="*/ 224 h 557"/>
                    <a:gd name="T52" fmla="*/ 9 w 533"/>
                    <a:gd name="T53" fmla="*/ 255 h 557"/>
                    <a:gd name="T54" fmla="*/ 17 w 533"/>
                    <a:gd name="T55" fmla="*/ 316 h 557"/>
                    <a:gd name="T56" fmla="*/ 51 w 533"/>
                    <a:gd name="T57" fmla="*/ 345 h 557"/>
                    <a:gd name="T58" fmla="*/ 76 w 533"/>
                    <a:gd name="T59" fmla="*/ 379 h 557"/>
                    <a:gd name="T60" fmla="*/ 85 w 533"/>
                    <a:gd name="T61" fmla="*/ 413 h 557"/>
                    <a:gd name="T62" fmla="*/ 53 w 533"/>
                    <a:gd name="T63" fmla="*/ 423 h 557"/>
                    <a:gd name="T64" fmla="*/ 42 w 533"/>
                    <a:gd name="T65" fmla="*/ 415 h 557"/>
                    <a:gd name="T66" fmla="*/ 49 w 533"/>
                    <a:gd name="T67" fmla="*/ 457 h 557"/>
                    <a:gd name="T68" fmla="*/ 83 w 533"/>
                    <a:gd name="T69" fmla="*/ 496 h 557"/>
                    <a:gd name="T70" fmla="*/ 141 w 533"/>
                    <a:gd name="T71" fmla="*/ 543 h 557"/>
                    <a:gd name="T72" fmla="*/ 166 w 533"/>
                    <a:gd name="T73" fmla="*/ 551 h 557"/>
                    <a:gd name="T74" fmla="*/ 166 w 533"/>
                    <a:gd name="T75" fmla="*/ 495 h 557"/>
                    <a:gd name="T76" fmla="*/ 174 w 533"/>
                    <a:gd name="T77" fmla="*/ 478 h 557"/>
                    <a:gd name="T78" fmla="*/ 191 w 533"/>
                    <a:gd name="T79" fmla="*/ 466 h 557"/>
                    <a:gd name="T80" fmla="*/ 211 w 533"/>
                    <a:gd name="T81" fmla="*/ 443 h 557"/>
                    <a:gd name="T82" fmla="*/ 226 w 533"/>
                    <a:gd name="T83" fmla="*/ 419 h 557"/>
                    <a:gd name="T84" fmla="*/ 250 w 533"/>
                    <a:gd name="T85" fmla="*/ 403 h 557"/>
                    <a:gd name="T86" fmla="*/ 268 w 533"/>
                    <a:gd name="T87" fmla="*/ 382 h 557"/>
                    <a:gd name="T88" fmla="*/ 312 w 533"/>
                    <a:gd name="T89" fmla="*/ 372 h 557"/>
                    <a:gd name="T90" fmla="*/ 331 w 533"/>
                    <a:gd name="T91" fmla="*/ 385 h 557"/>
                    <a:gd name="T92" fmla="*/ 336 w 533"/>
                    <a:gd name="T93" fmla="*/ 402 h 557"/>
                    <a:gd name="T94" fmla="*/ 327 w 533"/>
                    <a:gd name="T95" fmla="*/ 421 h 557"/>
                    <a:gd name="T96" fmla="*/ 347 w 533"/>
                    <a:gd name="T97" fmla="*/ 442 h 557"/>
                    <a:gd name="T98" fmla="*/ 394 w 533"/>
                    <a:gd name="T99" fmla="*/ 432 h 557"/>
                    <a:gd name="T100" fmla="*/ 457 w 533"/>
                    <a:gd name="T101" fmla="*/ 441 h 557"/>
                    <a:gd name="T102" fmla="*/ 488 w 533"/>
                    <a:gd name="T103" fmla="*/ 420 h 557"/>
                    <a:gd name="T104" fmla="*/ 480 w 533"/>
                    <a:gd name="T105" fmla="*/ 401 h 557"/>
                    <a:gd name="T106" fmla="*/ 492 w 533"/>
                    <a:gd name="T107" fmla="*/ 351 h 557"/>
                    <a:gd name="T108" fmla="*/ 499 w 533"/>
                    <a:gd name="T109" fmla="*/ 337 h 557"/>
                    <a:gd name="T110" fmla="*/ 516 w 533"/>
                    <a:gd name="T111" fmla="*/ 303 h 557"/>
                    <a:gd name="T112" fmla="*/ 530 w 533"/>
                    <a:gd name="T113" fmla="*/ 275 h 5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3"/>
                    <a:gd name="T172" fmla="*/ 0 h 557"/>
                    <a:gd name="T173" fmla="*/ 533 w 533"/>
                    <a:gd name="T174" fmla="*/ 557 h 55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3" h="557">
                      <a:moveTo>
                        <a:pt x="530" y="275"/>
                      </a:moveTo>
                      <a:lnTo>
                        <a:pt x="521" y="229"/>
                      </a:lnTo>
                      <a:lnTo>
                        <a:pt x="523" y="179"/>
                      </a:lnTo>
                      <a:lnTo>
                        <a:pt x="527" y="163"/>
                      </a:lnTo>
                      <a:lnTo>
                        <a:pt x="533" y="140"/>
                      </a:lnTo>
                      <a:lnTo>
                        <a:pt x="516" y="140"/>
                      </a:lnTo>
                      <a:lnTo>
                        <a:pt x="510" y="122"/>
                      </a:lnTo>
                      <a:lnTo>
                        <a:pt x="496" y="106"/>
                      </a:lnTo>
                      <a:lnTo>
                        <a:pt x="482" y="94"/>
                      </a:lnTo>
                      <a:lnTo>
                        <a:pt x="471" y="97"/>
                      </a:lnTo>
                      <a:lnTo>
                        <a:pt x="439" y="109"/>
                      </a:lnTo>
                      <a:lnTo>
                        <a:pt x="441" y="93"/>
                      </a:lnTo>
                      <a:lnTo>
                        <a:pt x="448" y="75"/>
                      </a:lnTo>
                      <a:lnTo>
                        <a:pt x="462" y="72"/>
                      </a:lnTo>
                      <a:lnTo>
                        <a:pt x="462" y="52"/>
                      </a:lnTo>
                      <a:lnTo>
                        <a:pt x="419" y="41"/>
                      </a:lnTo>
                      <a:lnTo>
                        <a:pt x="396" y="47"/>
                      </a:lnTo>
                      <a:lnTo>
                        <a:pt x="379" y="47"/>
                      </a:lnTo>
                      <a:lnTo>
                        <a:pt x="370" y="30"/>
                      </a:lnTo>
                      <a:lnTo>
                        <a:pt x="350" y="4"/>
                      </a:lnTo>
                      <a:lnTo>
                        <a:pt x="314" y="7"/>
                      </a:lnTo>
                      <a:lnTo>
                        <a:pt x="311" y="37"/>
                      </a:lnTo>
                      <a:lnTo>
                        <a:pt x="296" y="34"/>
                      </a:lnTo>
                      <a:lnTo>
                        <a:pt x="272" y="8"/>
                      </a:lnTo>
                      <a:lnTo>
                        <a:pt x="232" y="0"/>
                      </a:lnTo>
                      <a:lnTo>
                        <a:pt x="225" y="25"/>
                      </a:lnTo>
                      <a:lnTo>
                        <a:pt x="230" y="42"/>
                      </a:lnTo>
                      <a:lnTo>
                        <a:pt x="222" y="74"/>
                      </a:lnTo>
                      <a:lnTo>
                        <a:pt x="213" y="100"/>
                      </a:lnTo>
                      <a:lnTo>
                        <a:pt x="211" y="141"/>
                      </a:lnTo>
                      <a:lnTo>
                        <a:pt x="231" y="145"/>
                      </a:lnTo>
                      <a:lnTo>
                        <a:pt x="248" y="127"/>
                      </a:lnTo>
                      <a:lnTo>
                        <a:pt x="265" y="128"/>
                      </a:lnTo>
                      <a:lnTo>
                        <a:pt x="255" y="164"/>
                      </a:lnTo>
                      <a:lnTo>
                        <a:pt x="234" y="164"/>
                      </a:lnTo>
                      <a:lnTo>
                        <a:pt x="217" y="178"/>
                      </a:lnTo>
                      <a:lnTo>
                        <a:pt x="217" y="165"/>
                      </a:lnTo>
                      <a:lnTo>
                        <a:pt x="201" y="163"/>
                      </a:lnTo>
                      <a:lnTo>
                        <a:pt x="187" y="133"/>
                      </a:lnTo>
                      <a:lnTo>
                        <a:pt x="188" y="102"/>
                      </a:lnTo>
                      <a:lnTo>
                        <a:pt x="168" y="144"/>
                      </a:lnTo>
                      <a:lnTo>
                        <a:pt x="143" y="174"/>
                      </a:lnTo>
                      <a:lnTo>
                        <a:pt x="120" y="182"/>
                      </a:lnTo>
                      <a:lnTo>
                        <a:pt x="93" y="183"/>
                      </a:lnTo>
                      <a:lnTo>
                        <a:pt x="75" y="169"/>
                      </a:lnTo>
                      <a:lnTo>
                        <a:pt x="52" y="175"/>
                      </a:lnTo>
                      <a:lnTo>
                        <a:pt x="27" y="175"/>
                      </a:lnTo>
                      <a:lnTo>
                        <a:pt x="11" y="187"/>
                      </a:lnTo>
                      <a:lnTo>
                        <a:pt x="0" y="180"/>
                      </a:lnTo>
                      <a:lnTo>
                        <a:pt x="0" y="205"/>
                      </a:lnTo>
                      <a:lnTo>
                        <a:pt x="10" y="212"/>
                      </a:lnTo>
                      <a:lnTo>
                        <a:pt x="4" y="224"/>
                      </a:lnTo>
                      <a:lnTo>
                        <a:pt x="11" y="231"/>
                      </a:lnTo>
                      <a:lnTo>
                        <a:pt x="9" y="255"/>
                      </a:lnTo>
                      <a:lnTo>
                        <a:pt x="17" y="296"/>
                      </a:lnTo>
                      <a:lnTo>
                        <a:pt x="17" y="316"/>
                      </a:lnTo>
                      <a:lnTo>
                        <a:pt x="31" y="340"/>
                      </a:lnTo>
                      <a:lnTo>
                        <a:pt x="51" y="345"/>
                      </a:lnTo>
                      <a:lnTo>
                        <a:pt x="58" y="365"/>
                      </a:lnTo>
                      <a:lnTo>
                        <a:pt x="76" y="379"/>
                      </a:lnTo>
                      <a:lnTo>
                        <a:pt x="88" y="401"/>
                      </a:lnTo>
                      <a:lnTo>
                        <a:pt x="85" y="413"/>
                      </a:lnTo>
                      <a:lnTo>
                        <a:pt x="67" y="430"/>
                      </a:lnTo>
                      <a:lnTo>
                        <a:pt x="53" y="423"/>
                      </a:lnTo>
                      <a:lnTo>
                        <a:pt x="52" y="410"/>
                      </a:lnTo>
                      <a:lnTo>
                        <a:pt x="42" y="415"/>
                      </a:lnTo>
                      <a:lnTo>
                        <a:pt x="41" y="439"/>
                      </a:lnTo>
                      <a:lnTo>
                        <a:pt x="49" y="457"/>
                      </a:lnTo>
                      <a:lnTo>
                        <a:pt x="86" y="482"/>
                      </a:lnTo>
                      <a:lnTo>
                        <a:pt x="83" y="496"/>
                      </a:lnTo>
                      <a:lnTo>
                        <a:pt x="144" y="491"/>
                      </a:lnTo>
                      <a:lnTo>
                        <a:pt x="141" y="543"/>
                      </a:lnTo>
                      <a:lnTo>
                        <a:pt x="159" y="557"/>
                      </a:lnTo>
                      <a:lnTo>
                        <a:pt x="166" y="551"/>
                      </a:lnTo>
                      <a:lnTo>
                        <a:pt x="165" y="512"/>
                      </a:lnTo>
                      <a:lnTo>
                        <a:pt x="166" y="495"/>
                      </a:lnTo>
                      <a:lnTo>
                        <a:pt x="174" y="492"/>
                      </a:lnTo>
                      <a:lnTo>
                        <a:pt x="174" y="478"/>
                      </a:lnTo>
                      <a:lnTo>
                        <a:pt x="184" y="476"/>
                      </a:lnTo>
                      <a:lnTo>
                        <a:pt x="191" y="466"/>
                      </a:lnTo>
                      <a:lnTo>
                        <a:pt x="196" y="448"/>
                      </a:lnTo>
                      <a:lnTo>
                        <a:pt x="211" y="443"/>
                      </a:lnTo>
                      <a:lnTo>
                        <a:pt x="212" y="433"/>
                      </a:lnTo>
                      <a:lnTo>
                        <a:pt x="226" y="419"/>
                      </a:lnTo>
                      <a:lnTo>
                        <a:pt x="225" y="406"/>
                      </a:lnTo>
                      <a:lnTo>
                        <a:pt x="250" y="403"/>
                      </a:lnTo>
                      <a:lnTo>
                        <a:pt x="261" y="383"/>
                      </a:lnTo>
                      <a:lnTo>
                        <a:pt x="268" y="382"/>
                      </a:lnTo>
                      <a:lnTo>
                        <a:pt x="282" y="391"/>
                      </a:lnTo>
                      <a:lnTo>
                        <a:pt x="312" y="372"/>
                      </a:lnTo>
                      <a:lnTo>
                        <a:pt x="319" y="380"/>
                      </a:lnTo>
                      <a:lnTo>
                        <a:pt x="331" y="385"/>
                      </a:lnTo>
                      <a:lnTo>
                        <a:pt x="343" y="390"/>
                      </a:lnTo>
                      <a:lnTo>
                        <a:pt x="336" y="402"/>
                      </a:lnTo>
                      <a:lnTo>
                        <a:pt x="327" y="405"/>
                      </a:lnTo>
                      <a:lnTo>
                        <a:pt x="327" y="421"/>
                      </a:lnTo>
                      <a:lnTo>
                        <a:pt x="338" y="431"/>
                      </a:lnTo>
                      <a:lnTo>
                        <a:pt x="347" y="442"/>
                      </a:lnTo>
                      <a:lnTo>
                        <a:pt x="365" y="437"/>
                      </a:lnTo>
                      <a:lnTo>
                        <a:pt x="394" y="432"/>
                      </a:lnTo>
                      <a:lnTo>
                        <a:pt x="408" y="448"/>
                      </a:lnTo>
                      <a:lnTo>
                        <a:pt x="457" y="441"/>
                      </a:lnTo>
                      <a:lnTo>
                        <a:pt x="455" y="422"/>
                      </a:lnTo>
                      <a:lnTo>
                        <a:pt x="488" y="420"/>
                      </a:lnTo>
                      <a:lnTo>
                        <a:pt x="489" y="409"/>
                      </a:lnTo>
                      <a:lnTo>
                        <a:pt x="480" y="401"/>
                      </a:lnTo>
                      <a:lnTo>
                        <a:pt x="471" y="372"/>
                      </a:lnTo>
                      <a:lnTo>
                        <a:pt x="492" y="351"/>
                      </a:lnTo>
                      <a:lnTo>
                        <a:pt x="489" y="341"/>
                      </a:lnTo>
                      <a:lnTo>
                        <a:pt x="499" y="337"/>
                      </a:lnTo>
                      <a:lnTo>
                        <a:pt x="504" y="320"/>
                      </a:lnTo>
                      <a:lnTo>
                        <a:pt x="516" y="303"/>
                      </a:lnTo>
                      <a:lnTo>
                        <a:pt x="509" y="293"/>
                      </a:lnTo>
                      <a:lnTo>
                        <a:pt x="530" y="27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0" name="Freeform 22"/>
                <p:cNvSpPr>
                  <a:spLocks/>
                </p:cNvSpPr>
                <p:nvPr/>
              </p:nvSpPr>
              <p:spPr bwMode="auto">
                <a:xfrm>
                  <a:off x="523" y="2152"/>
                  <a:ext cx="586" cy="407"/>
                </a:xfrm>
                <a:custGeom>
                  <a:avLst/>
                  <a:gdLst>
                    <a:gd name="T0" fmla="*/ 0 w 1626"/>
                    <a:gd name="T1" fmla="*/ 0 h 1101"/>
                    <a:gd name="T2" fmla="*/ 0 w 1626"/>
                    <a:gd name="T3" fmla="*/ 0 h 1101"/>
                    <a:gd name="T4" fmla="*/ 0 w 1626"/>
                    <a:gd name="T5" fmla="*/ 0 h 1101"/>
                    <a:gd name="T6" fmla="*/ 0 w 1626"/>
                    <a:gd name="T7" fmla="*/ 0 h 1101"/>
                    <a:gd name="T8" fmla="*/ 0 w 1626"/>
                    <a:gd name="T9" fmla="*/ 0 h 1101"/>
                    <a:gd name="T10" fmla="*/ 0 w 1626"/>
                    <a:gd name="T11" fmla="*/ 0 h 1101"/>
                    <a:gd name="T12" fmla="*/ 0 w 1626"/>
                    <a:gd name="T13" fmla="*/ 0 h 1101"/>
                    <a:gd name="T14" fmla="*/ 0 w 1626"/>
                    <a:gd name="T15" fmla="*/ 0 h 1101"/>
                    <a:gd name="T16" fmla="*/ 0 w 1626"/>
                    <a:gd name="T17" fmla="*/ 0 h 1101"/>
                    <a:gd name="T18" fmla="*/ 0 w 1626"/>
                    <a:gd name="T19" fmla="*/ 0 h 1101"/>
                    <a:gd name="T20" fmla="*/ 0 w 1626"/>
                    <a:gd name="T21" fmla="*/ 0 h 1101"/>
                    <a:gd name="T22" fmla="*/ 0 w 1626"/>
                    <a:gd name="T23" fmla="*/ 0 h 1101"/>
                    <a:gd name="T24" fmla="*/ 0 w 1626"/>
                    <a:gd name="T25" fmla="*/ 0 h 1101"/>
                    <a:gd name="T26" fmla="*/ 0 w 1626"/>
                    <a:gd name="T27" fmla="*/ 0 h 1101"/>
                    <a:gd name="T28" fmla="*/ 0 w 1626"/>
                    <a:gd name="T29" fmla="*/ 0 h 1101"/>
                    <a:gd name="T30" fmla="*/ 0 w 1626"/>
                    <a:gd name="T31" fmla="*/ 0 h 1101"/>
                    <a:gd name="T32" fmla="*/ 0 w 1626"/>
                    <a:gd name="T33" fmla="*/ 0 h 1101"/>
                    <a:gd name="T34" fmla="*/ 0 w 1626"/>
                    <a:gd name="T35" fmla="*/ 0 h 1101"/>
                    <a:gd name="T36" fmla="*/ 0 w 1626"/>
                    <a:gd name="T37" fmla="*/ 0 h 1101"/>
                    <a:gd name="T38" fmla="*/ 0 w 1626"/>
                    <a:gd name="T39" fmla="*/ 0 h 1101"/>
                    <a:gd name="T40" fmla="*/ 0 w 1626"/>
                    <a:gd name="T41" fmla="*/ 0 h 1101"/>
                    <a:gd name="T42" fmla="*/ 0 w 1626"/>
                    <a:gd name="T43" fmla="*/ 0 h 1101"/>
                    <a:gd name="T44" fmla="*/ 0 w 1626"/>
                    <a:gd name="T45" fmla="*/ 0 h 1101"/>
                    <a:gd name="T46" fmla="*/ 0 w 1626"/>
                    <a:gd name="T47" fmla="*/ 0 h 1101"/>
                    <a:gd name="T48" fmla="*/ 0 w 1626"/>
                    <a:gd name="T49" fmla="*/ 0 h 1101"/>
                    <a:gd name="T50" fmla="*/ 0 w 1626"/>
                    <a:gd name="T51" fmla="*/ 0 h 1101"/>
                    <a:gd name="T52" fmla="*/ 0 w 1626"/>
                    <a:gd name="T53" fmla="*/ 0 h 1101"/>
                    <a:gd name="T54" fmla="*/ 0 w 1626"/>
                    <a:gd name="T55" fmla="*/ 0 h 1101"/>
                    <a:gd name="T56" fmla="*/ 0 w 1626"/>
                    <a:gd name="T57" fmla="*/ 0 h 1101"/>
                    <a:gd name="T58" fmla="*/ 0 w 1626"/>
                    <a:gd name="T59" fmla="*/ 0 h 1101"/>
                    <a:gd name="T60" fmla="*/ 0 w 1626"/>
                    <a:gd name="T61" fmla="*/ 0 h 1101"/>
                    <a:gd name="T62" fmla="*/ 0 w 1626"/>
                    <a:gd name="T63" fmla="*/ 0 h 1101"/>
                    <a:gd name="T64" fmla="*/ 0 w 1626"/>
                    <a:gd name="T65" fmla="*/ 0 h 1101"/>
                    <a:gd name="T66" fmla="*/ 0 w 1626"/>
                    <a:gd name="T67" fmla="*/ 0 h 1101"/>
                    <a:gd name="T68" fmla="*/ 0 w 1626"/>
                    <a:gd name="T69" fmla="*/ 0 h 1101"/>
                    <a:gd name="T70" fmla="*/ 0 w 1626"/>
                    <a:gd name="T71" fmla="*/ 0 h 1101"/>
                    <a:gd name="T72" fmla="*/ 0 w 1626"/>
                    <a:gd name="T73" fmla="*/ 0 h 1101"/>
                    <a:gd name="T74" fmla="*/ 0 w 1626"/>
                    <a:gd name="T75" fmla="*/ 0 h 1101"/>
                    <a:gd name="T76" fmla="*/ 0 w 1626"/>
                    <a:gd name="T77" fmla="*/ 0 h 1101"/>
                    <a:gd name="T78" fmla="*/ 0 w 1626"/>
                    <a:gd name="T79" fmla="*/ 0 h 1101"/>
                    <a:gd name="T80" fmla="*/ 0 w 1626"/>
                    <a:gd name="T81" fmla="*/ 0 h 1101"/>
                    <a:gd name="T82" fmla="*/ 0 w 1626"/>
                    <a:gd name="T83" fmla="*/ 0 h 1101"/>
                    <a:gd name="T84" fmla="*/ 0 w 1626"/>
                    <a:gd name="T85" fmla="*/ 0 h 1101"/>
                    <a:gd name="T86" fmla="*/ 0 w 1626"/>
                    <a:gd name="T87" fmla="*/ 0 h 1101"/>
                    <a:gd name="T88" fmla="*/ 0 w 1626"/>
                    <a:gd name="T89" fmla="*/ 0 h 1101"/>
                    <a:gd name="T90" fmla="*/ 0 w 1626"/>
                    <a:gd name="T91" fmla="*/ 0 h 1101"/>
                    <a:gd name="T92" fmla="*/ 0 w 1626"/>
                    <a:gd name="T93" fmla="*/ 0 h 1101"/>
                    <a:gd name="T94" fmla="*/ 0 w 1626"/>
                    <a:gd name="T95" fmla="*/ 0 h 1101"/>
                    <a:gd name="T96" fmla="*/ 0 w 1626"/>
                    <a:gd name="T97" fmla="*/ 0 h 1101"/>
                    <a:gd name="T98" fmla="*/ 0 w 1626"/>
                    <a:gd name="T99" fmla="*/ 0 h 1101"/>
                    <a:gd name="T100" fmla="*/ 0 w 1626"/>
                    <a:gd name="T101" fmla="*/ 0 h 11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26"/>
                    <a:gd name="T154" fmla="*/ 0 h 1101"/>
                    <a:gd name="T155" fmla="*/ 1626 w 1626"/>
                    <a:gd name="T156" fmla="*/ 1101 h 11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26" h="1101">
                      <a:moveTo>
                        <a:pt x="3" y="978"/>
                      </a:moveTo>
                      <a:lnTo>
                        <a:pt x="114" y="1005"/>
                      </a:lnTo>
                      <a:lnTo>
                        <a:pt x="156" y="996"/>
                      </a:lnTo>
                      <a:lnTo>
                        <a:pt x="171" y="1023"/>
                      </a:lnTo>
                      <a:lnTo>
                        <a:pt x="243" y="1053"/>
                      </a:lnTo>
                      <a:lnTo>
                        <a:pt x="267" y="1101"/>
                      </a:lnTo>
                      <a:lnTo>
                        <a:pt x="312" y="1092"/>
                      </a:lnTo>
                      <a:lnTo>
                        <a:pt x="348" y="1077"/>
                      </a:lnTo>
                      <a:lnTo>
                        <a:pt x="420" y="1074"/>
                      </a:lnTo>
                      <a:lnTo>
                        <a:pt x="429" y="1041"/>
                      </a:lnTo>
                      <a:lnTo>
                        <a:pt x="483" y="1023"/>
                      </a:lnTo>
                      <a:lnTo>
                        <a:pt x="530" y="1045"/>
                      </a:lnTo>
                      <a:lnTo>
                        <a:pt x="606" y="1041"/>
                      </a:lnTo>
                      <a:lnTo>
                        <a:pt x="654" y="987"/>
                      </a:lnTo>
                      <a:lnTo>
                        <a:pt x="660" y="951"/>
                      </a:lnTo>
                      <a:lnTo>
                        <a:pt x="636" y="918"/>
                      </a:lnTo>
                      <a:lnTo>
                        <a:pt x="657" y="915"/>
                      </a:lnTo>
                      <a:lnTo>
                        <a:pt x="705" y="921"/>
                      </a:lnTo>
                      <a:lnTo>
                        <a:pt x="732" y="900"/>
                      </a:lnTo>
                      <a:lnTo>
                        <a:pt x="726" y="864"/>
                      </a:lnTo>
                      <a:lnTo>
                        <a:pt x="795" y="867"/>
                      </a:lnTo>
                      <a:lnTo>
                        <a:pt x="825" y="900"/>
                      </a:lnTo>
                      <a:lnTo>
                        <a:pt x="867" y="894"/>
                      </a:lnTo>
                      <a:lnTo>
                        <a:pt x="897" y="927"/>
                      </a:lnTo>
                      <a:lnTo>
                        <a:pt x="942" y="909"/>
                      </a:lnTo>
                      <a:lnTo>
                        <a:pt x="963" y="882"/>
                      </a:lnTo>
                      <a:lnTo>
                        <a:pt x="1005" y="885"/>
                      </a:lnTo>
                      <a:lnTo>
                        <a:pt x="1017" y="936"/>
                      </a:lnTo>
                      <a:lnTo>
                        <a:pt x="1044" y="936"/>
                      </a:lnTo>
                      <a:lnTo>
                        <a:pt x="1131" y="924"/>
                      </a:lnTo>
                      <a:lnTo>
                        <a:pt x="1188" y="864"/>
                      </a:lnTo>
                      <a:lnTo>
                        <a:pt x="1239" y="840"/>
                      </a:lnTo>
                      <a:lnTo>
                        <a:pt x="1254" y="789"/>
                      </a:lnTo>
                      <a:lnTo>
                        <a:pt x="1242" y="769"/>
                      </a:lnTo>
                      <a:lnTo>
                        <a:pt x="1203" y="747"/>
                      </a:lnTo>
                      <a:lnTo>
                        <a:pt x="1206" y="636"/>
                      </a:lnTo>
                      <a:lnTo>
                        <a:pt x="1227" y="633"/>
                      </a:lnTo>
                      <a:lnTo>
                        <a:pt x="1251" y="693"/>
                      </a:lnTo>
                      <a:lnTo>
                        <a:pt x="1296" y="717"/>
                      </a:lnTo>
                      <a:lnTo>
                        <a:pt x="1341" y="711"/>
                      </a:lnTo>
                      <a:lnTo>
                        <a:pt x="1398" y="732"/>
                      </a:lnTo>
                      <a:lnTo>
                        <a:pt x="1446" y="651"/>
                      </a:lnTo>
                      <a:lnTo>
                        <a:pt x="1446" y="606"/>
                      </a:lnTo>
                      <a:lnTo>
                        <a:pt x="1536" y="594"/>
                      </a:lnTo>
                      <a:lnTo>
                        <a:pt x="1551" y="522"/>
                      </a:lnTo>
                      <a:lnTo>
                        <a:pt x="1572" y="495"/>
                      </a:lnTo>
                      <a:lnTo>
                        <a:pt x="1623" y="483"/>
                      </a:lnTo>
                      <a:lnTo>
                        <a:pt x="1626" y="432"/>
                      </a:lnTo>
                      <a:lnTo>
                        <a:pt x="1602" y="315"/>
                      </a:lnTo>
                      <a:lnTo>
                        <a:pt x="1605" y="267"/>
                      </a:lnTo>
                      <a:lnTo>
                        <a:pt x="1590" y="237"/>
                      </a:lnTo>
                      <a:lnTo>
                        <a:pt x="1491" y="198"/>
                      </a:lnTo>
                      <a:lnTo>
                        <a:pt x="1377" y="201"/>
                      </a:lnTo>
                      <a:lnTo>
                        <a:pt x="1377" y="165"/>
                      </a:lnTo>
                      <a:lnTo>
                        <a:pt x="1353" y="93"/>
                      </a:lnTo>
                      <a:lnTo>
                        <a:pt x="1353" y="48"/>
                      </a:lnTo>
                      <a:lnTo>
                        <a:pt x="1278" y="0"/>
                      </a:lnTo>
                      <a:lnTo>
                        <a:pt x="1173" y="24"/>
                      </a:lnTo>
                      <a:lnTo>
                        <a:pt x="1170" y="45"/>
                      </a:lnTo>
                      <a:lnTo>
                        <a:pt x="1140" y="96"/>
                      </a:lnTo>
                      <a:lnTo>
                        <a:pt x="1155" y="234"/>
                      </a:lnTo>
                      <a:lnTo>
                        <a:pt x="1125" y="288"/>
                      </a:lnTo>
                      <a:lnTo>
                        <a:pt x="1062" y="285"/>
                      </a:lnTo>
                      <a:lnTo>
                        <a:pt x="1062" y="351"/>
                      </a:lnTo>
                      <a:lnTo>
                        <a:pt x="1050" y="420"/>
                      </a:lnTo>
                      <a:lnTo>
                        <a:pt x="1020" y="477"/>
                      </a:lnTo>
                      <a:lnTo>
                        <a:pt x="990" y="513"/>
                      </a:lnTo>
                      <a:lnTo>
                        <a:pt x="924" y="510"/>
                      </a:lnTo>
                      <a:lnTo>
                        <a:pt x="909" y="465"/>
                      </a:lnTo>
                      <a:lnTo>
                        <a:pt x="846" y="441"/>
                      </a:lnTo>
                      <a:lnTo>
                        <a:pt x="837" y="480"/>
                      </a:lnTo>
                      <a:lnTo>
                        <a:pt x="819" y="492"/>
                      </a:lnTo>
                      <a:lnTo>
                        <a:pt x="804" y="477"/>
                      </a:lnTo>
                      <a:lnTo>
                        <a:pt x="795" y="453"/>
                      </a:lnTo>
                      <a:lnTo>
                        <a:pt x="735" y="438"/>
                      </a:lnTo>
                      <a:lnTo>
                        <a:pt x="714" y="489"/>
                      </a:lnTo>
                      <a:lnTo>
                        <a:pt x="708" y="522"/>
                      </a:lnTo>
                      <a:lnTo>
                        <a:pt x="633" y="525"/>
                      </a:lnTo>
                      <a:lnTo>
                        <a:pt x="618" y="552"/>
                      </a:lnTo>
                      <a:lnTo>
                        <a:pt x="507" y="555"/>
                      </a:lnTo>
                      <a:lnTo>
                        <a:pt x="474" y="594"/>
                      </a:lnTo>
                      <a:lnTo>
                        <a:pt x="432" y="600"/>
                      </a:lnTo>
                      <a:lnTo>
                        <a:pt x="393" y="636"/>
                      </a:lnTo>
                      <a:lnTo>
                        <a:pt x="357" y="651"/>
                      </a:lnTo>
                      <a:lnTo>
                        <a:pt x="318" y="618"/>
                      </a:lnTo>
                      <a:lnTo>
                        <a:pt x="312" y="654"/>
                      </a:lnTo>
                      <a:lnTo>
                        <a:pt x="285" y="693"/>
                      </a:lnTo>
                      <a:lnTo>
                        <a:pt x="237" y="708"/>
                      </a:lnTo>
                      <a:lnTo>
                        <a:pt x="273" y="768"/>
                      </a:lnTo>
                      <a:lnTo>
                        <a:pt x="318" y="795"/>
                      </a:lnTo>
                      <a:lnTo>
                        <a:pt x="333" y="834"/>
                      </a:lnTo>
                      <a:lnTo>
                        <a:pt x="243" y="915"/>
                      </a:lnTo>
                      <a:lnTo>
                        <a:pt x="219" y="888"/>
                      </a:lnTo>
                      <a:lnTo>
                        <a:pt x="216" y="831"/>
                      </a:lnTo>
                      <a:lnTo>
                        <a:pt x="198" y="807"/>
                      </a:lnTo>
                      <a:lnTo>
                        <a:pt x="114" y="780"/>
                      </a:lnTo>
                      <a:lnTo>
                        <a:pt x="84" y="753"/>
                      </a:lnTo>
                      <a:lnTo>
                        <a:pt x="36" y="768"/>
                      </a:lnTo>
                      <a:lnTo>
                        <a:pt x="21" y="555"/>
                      </a:lnTo>
                      <a:lnTo>
                        <a:pt x="0" y="561"/>
                      </a:lnTo>
                      <a:lnTo>
                        <a:pt x="6" y="789"/>
                      </a:lnTo>
                      <a:lnTo>
                        <a:pt x="6" y="924"/>
                      </a:lnTo>
                      <a:lnTo>
                        <a:pt x="3" y="97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1" name="Freeform 23"/>
                <p:cNvSpPr>
                  <a:spLocks/>
                </p:cNvSpPr>
                <p:nvPr/>
              </p:nvSpPr>
              <p:spPr bwMode="auto">
                <a:xfrm>
                  <a:off x="737" y="2331"/>
                  <a:ext cx="483" cy="664"/>
                </a:xfrm>
                <a:custGeom>
                  <a:avLst/>
                  <a:gdLst>
                    <a:gd name="T0" fmla="*/ 363 w 483"/>
                    <a:gd name="T1" fmla="*/ 617 h 664"/>
                    <a:gd name="T2" fmla="*/ 372 w 483"/>
                    <a:gd name="T3" fmla="*/ 553 h 664"/>
                    <a:gd name="T4" fmla="*/ 358 w 483"/>
                    <a:gd name="T5" fmla="*/ 526 h 664"/>
                    <a:gd name="T6" fmla="*/ 409 w 483"/>
                    <a:gd name="T7" fmla="*/ 535 h 664"/>
                    <a:gd name="T8" fmla="*/ 450 w 483"/>
                    <a:gd name="T9" fmla="*/ 519 h 664"/>
                    <a:gd name="T10" fmla="*/ 444 w 483"/>
                    <a:gd name="T11" fmla="*/ 488 h 664"/>
                    <a:gd name="T12" fmla="*/ 470 w 483"/>
                    <a:gd name="T13" fmla="*/ 485 h 664"/>
                    <a:gd name="T14" fmla="*/ 483 w 483"/>
                    <a:gd name="T15" fmla="*/ 436 h 664"/>
                    <a:gd name="T16" fmla="*/ 448 w 483"/>
                    <a:gd name="T17" fmla="*/ 387 h 664"/>
                    <a:gd name="T18" fmla="*/ 438 w 483"/>
                    <a:gd name="T19" fmla="*/ 361 h 664"/>
                    <a:gd name="T20" fmla="*/ 443 w 483"/>
                    <a:gd name="T21" fmla="*/ 305 h 664"/>
                    <a:gd name="T22" fmla="*/ 435 w 483"/>
                    <a:gd name="T23" fmla="*/ 248 h 664"/>
                    <a:gd name="T24" fmla="*/ 474 w 483"/>
                    <a:gd name="T25" fmla="*/ 237 h 664"/>
                    <a:gd name="T26" fmla="*/ 438 w 483"/>
                    <a:gd name="T27" fmla="*/ 183 h 664"/>
                    <a:gd name="T28" fmla="*/ 401 w 483"/>
                    <a:gd name="T29" fmla="*/ 142 h 664"/>
                    <a:gd name="T30" fmla="*/ 394 w 483"/>
                    <a:gd name="T31" fmla="*/ 99 h 664"/>
                    <a:gd name="T32" fmla="*/ 407 w 483"/>
                    <a:gd name="T33" fmla="*/ 108 h 664"/>
                    <a:gd name="T34" fmla="*/ 438 w 483"/>
                    <a:gd name="T35" fmla="*/ 102 h 664"/>
                    <a:gd name="T36" fmla="*/ 428 w 483"/>
                    <a:gd name="T37" fmla="*/ 59 h 664"/>
                    <a:gd name="T38" fmla="*/ 404 w 483"/>
                    <a:gd name="T39" fmla="*/ 30 h 664"/>
                    <a:gd name="T40" fmla="*/ 371 w 483"/>
                    <a:gd name="T41" fmla="*/ 0 h 664"/>
                    <a:gd name="T42" fmla="*/ 343 w 483"/>
                    <a:gd name="T43" fmla="*/ 13 h 664"/>
                    <a:gd name="T44" fmla="*/ 307 w 483"/>
                    <a:gd name="T45" fmla="*/ 44 h 664"/>
                    <a:gd name="T46" fmla="*/ 288 w 483"/>
                    <a:gd name="T47" fmla="*/ 90 h 664"/>
                    <a:gd name="T48" fmla="*/ 239 w 483"/>
                    <a:gd name="T49" fmla="*/ 83 h 664"/>
                    <a:gd name="T50" fmla="*/ 221 w 483"/>
                    <a:gd name="T51" fmla="*/ 58 h 664"/>
                    <a:gd name="T52" fmla="*/ 228 w 483"/>
                    <a:gd name="T53" fmla="*/ 102 h 664"/>
                    <a:gd name="T54" fmla="*/ 231 w 483"/>
                    <a:gd name="T55" fmla="*/ 130 h 664"/>
                    <a:gd name="T56" fmla="*/ 189 w 483"/>
                    <a:gd name="T57" fmla="*/ 164 h 664"/>
                    <a:gd name="T58" fmla="*/ 147 w 483"/>
                    <a:gd name="T59" fmla="*/ 148 h 664"/>
                    <a:gd name="T60" fmla="*/ 123 w 483"/>
                    <a:gd name="T61" fmla="*/ 157 h 664"/>
                    <a:gd name="T62" fmla="*/ 97 w 483"/>
                    <a:gd name="T63" fmla="*/ 151 h 664"/>
                    <a:gd name="T64" fmla="*/ 76 w 483"/>
                    <a:gd name="T65" fmla="*/ 143 h 664"/>
                    <a:gd name="T66" fmla="*/ 50 w 483"/>
                    <a:gd name="T67" fmla="*/ 152 h 664"/>
                    <a:gd name="T68" fmla="*/ 17 w 483"/>
                    <a:gd name="T69" fmla="*/ 160 h 664"/>
                    <a:gd name="T70" fmla="*/ 22 w 483"/>
                    <a:gd name="T71" fmla="*/ 185 h 664"/>
                    <a:gd name="T72" fmla="*/ 25 w 483"/>
                    <a:gd name="T73" fmla="*/ 254 h 664"/>
                    <a:gd name="T74" fmla="*/ 62 w 483"/>
                    <a:gd name="T75" fmla="*/ 278 h 664"/>
                    <a:gd name="T76" fmla="*/ 88 w 483"/>
                    <a:gd name="T77" fmla="*/ 319 h 664"/>
                    <a:gd name="T78" fmla="*/ 115 w 483"/>
                    <a:gd name="T79" fmla="*/ 348 h 664"/>
                    <a:gd name="T80" fmla="*/ 141 w 483"/>
                    <a:gd name="T81" fmla="*/ 337 h 664"/>
                    <a:gd name="T82" fmla="*/ 187 w 483"/>
                    <a:gd name="T83" fmla="*/ 330 h 664"/>
                    <a:gd name="T84" fmla="*/ 209 w 483"/>
                    <a:gd name="T85" fmla="*/ 348 h 664"/>
                    <a:gd name="T86" fmla="*/ 211 w 483"/>
                    <a:gd name="T87" fmla="*/ 384 h 664"/>
                    <a:gd name="T88" fmla="*/ 251 w 483"/>
                    <a:gd name="T89" fmla="*/ 396 h 664"/>
                    <a:gd name="T90" fmla="*/ 280 w 483"/>
                    <a:gd name="T91" fmla="*/ 430 h 664"/>
                    <a:gd name="T92" fmla="*/ 228 w 483"/>
                    <a:gd name="T93" fmla="*/ 448 h 664"/>
                    <a:gd name="T94" fmla="*/ 232 w 483"/>
                    <a:gd name="T95" fmla="*/ 464 h 664"/>
                    <a:gd name="T96" fmla="*/ 199 w 483"/>
                    <a:gd name="T97" fmla="*/ 509 h 664"/>
                    <a:gd name="T98" fmla="*/ 174 w 483"/>
                    <a:gd name="T99" fmla="*/ 578 h 664"/>
                    <a:gd name="T100" fmla="*/ 252 w 483"/>
                    <a:gd name="T101" fmla="*/ 664 h 664"/>
                    <a:gd name="T102" fmla="*/ 283 w 483"/>
                    <a:gd name="T103" fmla="*/ 649 h 664"/>
                    <a:gd name="T104" fmla="*/ 321 w 483"/>
                    <a:gd name="T105" fmla="*/ 648 h 6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3"/>
                    <a:gd name="T160" fmla="*/ 0 h 664"/>
                    <a:gd name="T161" fmla="*/ 483 w 483"/>
                    <a:gd name="T162" fmla="*/ 664 h 6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3" h="664">
                      <a:moveTo>
                        <a:pt x="341" y="646"/>
                      </a:moveTo>
                      <a:lnTo>
                        <a:pt x="363" y="617"/>
                      </a:lnTo>
                      <a:lnTo>
                        <a:pt x="365" y="571"/>
                      </a:lnTo>
                      <a:lnTo>
                        <a:pt x="372" y="553"/>
                      </a:lnTo>
                      <a:lnTo>
                        <a:pt x="347" y="534"/>
                      </a:lnTo>
                      <a:lnTo>
                        <a:pt x="358" y="526"/>
                      </a:lnTo>
                      <a:lnTo>
                        <a:pt x="378" y="526"/>
                      </a:lnTo>
                      <a:lnTo>
                        <a:pt x="409" y="535"/>
                      </a:lnTo>
                      <a:lnTo>
                        <a:pt x="424" y="525"/>
                      </a:lnTo>
                      <a:lnTo>
                        <a:pt x="450" y="519"/>
                      </a:lnTo>
                      <a:lnTo>
                        <a:pt x="450" y="510"/>
                      </a:lnTo>
                      <a:lnTo>
                        <a:pt x="444" y="488"/>
                      </a:lnTo>
                      <a:lnTo>
                        <a:pt x="451" y="478"/>
                      </a:lnTo>
                      <a:lnTo>
                        <a:pt x="470" y="485"/>
                      </a:lnTo>
                      <a:lnTo>
                        <a:pt x="483" y="460"/>
                      </a:lnTo>
                      <a:lnTo>
                        <a:pt x="483" y="436"/>
                      </a:lnTo>
                      <a:lnTo>
                        <a:pt x="460" y="420"/>
                      </a:lnTo>
                      <a:lnTo>
                        <a:pt x="448" y="387"/>
                      </a:lnTo>
                      <a:lnTo>
                        <a:pt x="434" y="387"/>
                      </a:lnTo>
                      <a:lnTo>
                        <a:pt x="438" y="361"/>
                      </a:lnTo>
                      <a:lnTo>
                        <a:pt x="435" y="336"/>
                      </a:lnTo>
                      <a:lnTo>
                        <a:pt x="443" y="305"/>
                      </a:lnTo>
                      <a:lnTo>
                        <a:pt x="418" y="285"/>
                      </a:lnTo>
                      <a:lnTo>
                        <a:pt x="435" y="248"/>
                      </a:lnTo>
                      <a:lnTo>
                        <a:pt x="460" y="247"/>
                      </a:lnTo>
                      <a:lnTo>
                        <a:pt x="474" y="237"/>
                      </a:lnTo>
                      <a:lnTo>
                        <a:pt x="461" y="203"/>
                      </a:lnTo>
                      <a:lnTo>
                        <a:pt x="438" y="183"/>
                      </a:lnTo>
                      <a:lnTo>
                        <a:pt x="441" y="169"/>
                      </a:lnTo>
                      <a:lnTo>
                        <a:pt x="401" y="142"/>
                      </a:lnTo>
                      <a:lnTo>
                        <a:pt x="395" y="120"/>
                      </a:lnTo>
                      <a:lnTo>
                        <a:pt x="394" y="99"/>
                      </a:lnTo>
                      <a:lnTo>
                        <a:pt x="404" y="95"/>
                      </a:lnTo>
                      <a:lnTo>
                        <a:pt x="407" y="108"/>
                      </a:lnTo>
                      <a:lnTo>
                        <a:pt x="420" y="114"/>
                      </a:lnTo>
                      <a:lnTo>
                        <a:pt x="438" y="102"/>
                      </a:lnTo>
                      <a:lnTo>
                        <a:pt x="440" y="89"/>
                      </a:lnTo>
                      <a:lnTo>
                        <a:pt x="428" y="59"/>
                      </a:lnTo>
                      <a:lnTo>
                        <a:pt x="409" y="46"/>
                      </a:lnTo>
                      <a:lnTo>
                        <a:pt x="404" y="30"/>
                      </a:lnTo>
                      <a:lnTo>
                        <a:pt x="382" y="18"/>
                      </a:lnTo>
                      <a:lnTo>
                        <a:pt x="371" y="0"/>
                      </a:lnTo>
                      <a:lnTo>
                        <a:pt x="349" y="6"/>
                      </a:lnTo>
                      <a:lnTo>
                        <a:pt x="343" y="13"/>
                      </a:lnTo>
                      <a:lnTo>
                        <a:pt x="340" y="40"/>
                      </a:lnTo>
                      <a:lnTo>
                        <a:pt x="307" y="44"/>
                      </a:lnTo>
                      <a:lnTo>
                        <a:pt x="307" y="59"/>
                      </a:lnTo>
                      <a:lnTo>
                        <a:pt x="288" y="90"/>
                      </a:lnTo>
                      <a:lnTo>
                        <a:pt x="267" y="83"/>
                      </a:lnTo>
                      <a:lnTo>
                        <a:pt x="239" y="83"/>
                      </a:lnTo>
                      <a:lnTo>
                        <a:pt x="231" y="55"/>
                      </a:lnTo>
                      <a:lnTo>
                        <a:pt x="221" y="58"/>
                      </a:lnTo>
                      <a:lnTo>
                        <a:pt x="218" y="92"/>
                      </a:lnTo>
                      <a:lnTo>
                        <a:pt x="228" y="102"/>
                      </a:lnTo>
                      <a:lnTo>
                        <a:pt x="239" y="109"/>
                      </a:lnTo>
                      <a:lnTo>
                        <a:pt x="231" y="130"/>
                      </a:lnTo>
                      <a:lnTo>
                        <a:pt x="212" y="139"/>
                      </a:lnTo>
                      <a:lnTo>
                        <a:pt x="189" y="164"/>
                      </a:lnTo>
                      <a:lnTo>
                        <a:pt x="151" y="166"/>
                      </a:lnTo>
                      <a:lnTo>
                        <a:pt x="147" y="148"/>
                      </a:lnTo>
                      <a:lnTo>
                        <a:pt x="131" y="148"/>
                      </a:lnTo>
                      <a:lnTo>
                        <a:pt x="123" y="157"/>
                      </a:lnTo>
                      <a:lnTo>
                        <a:pt x="107" y="161"/>
                      </a:lnTo>
                      <a:lnTo>
                        <a:pt x="97" y="151"/>
                      </a:lnTo>
                      <a:lnTo>
                        <a:pt x="85" y="154"/>
                      </a:lnTo>
                      <a:lnTo>
                        <a:pt x="76" y="143"/>
                      </a:lnTo>
                      <a:lnTo>
                        <a:pt x="49" y="140"/>
                      </a:lnTo>
                      <a:lnTo>
                        <a:pt x="50" y="152"/>
                      </a:lnTo>
                      <a:lnTo>
                        <a:pt x="40" y="163"/>
                      </a:lnTo>
                      <a:lnTo>
                        <a:pt x="17" y="160"/>
                      </a:lnTo>
                      <a:lnTo>
                        <a:pt x="25" y="173"/>
                      </a:lnTo>
                      <a:lnTo>
                        <a:pt x="22" y="185"/>
                      </a:lnTo>
                      <a:lnTo>
                        <a:pt x="0" y="206"/>
                      </a:lnTo>
                      <a:lnTo>
                        <a:pt x="25" y="254"/>
                      </a:lnTo>
                      <a:lnTo>
                        <a:pt x="33" y="265"/>
                      </a:lnTo>
                      <a:lnTo>
                        <a:pt x="62" y="278"/>
                      </a:lnTo>
                      <a:lnTo>
                        <a:pt x="89" y="293"/>
                      </a:lnTo>
                      <a:lnTo>
                        <a:pt x="88" y="319"/>
                      </a:lnTo>
                      <a:lnTo>
                        <a:pt x="112" y="325"/>
                      </a:lnTo>
                      <a:lnTo>
                        <a:pt x="115" y="348"/>
                      </a:lnTo>
                      <a:lnTo>
                        <a:pt x="124" y="356"/>
                      </a:lnTo>
                      <a:lnTo>
                        <a:pt x="141" y="337"/>
                      </a:lnTo>
                      <a:lnTo>
                        <a:pt x="146" y="324"/>
                      </a:lnTo>
                      <a:lnTo>
                        <a:pt x="187" y="330"/>
                      </a:lnTo>
                      <a:lnTo>
                        <a:pt x="192" y="342"/>
                      </a:lnTo>
                      <a:lnTo>
                        <a:pt x="209" y="348"/>
                      </a:lnTo>
                      <a:lnTo>
                        <a:pt x="206" y="356"/>
                      </a:lnTo>
                      <a:lnTo>
                        <a:pt x="211" y="384"/>
                      </a:lnTo>
                      <a:lnTo>
                        <a:pt x="241" y="386"/>
                      </a:lnTo>
                      <a:lnTo>
                        <a:pt x="251" y="396"/>
                      </a:lnTo>
                      <a:lnTo>
                        <a:pt x="254" y="417"/>
                      </a:lnTo>
                      <a:lnTo>
                        <a:pt x="280" y="430"/>
                      </a:lnTo>
                      <a:lnTo>
                        <a:pt x="272" y="444"/>
                      </a:lnTo>
                      <a:lnTo>
                        <a:pt x="228" y="448"/>
                      </a:lnTo>
                      <a:lnTo>
                        <a:pt x="218" y="460"/>
                      </a:lnTo>
                      <a:lnTo>
                        <a:pt x="232" y="464"/>
                      </a:lnTo>
                      <a:lnTo>
                        <a:pt x="223" y="487"/>
                      </a:lnTo>
                      <a:lnTo>
                        <a:pt x="199" y="509"/>
                      </a:lnTo>
                      <a:lnTo>
                        <a:pt x="202" y="532"/>
                      </a:lnTo>
                      <a:lnTo>
                        <a:pt x="174" y="578"/>
                      </a:lnTo>
                      <a:lnTo>
                        <a:pt x="187" y="631"/>
                      </a:lnTo>
                      <a:lnTo>
                        <a:pt x="252" y="664"/>
                      </a:lnTo>
                      <a:lnTo>
                        <a:pt x="268" y="654"/>
                      </a:lnTo>
                      <a:lnTo>
                        <a:pt x="283" y="649"/>
                      </a:lnTo>
                      <a:lnTo>
                        <a:pt x="299" y="648"/>
                      </a:lnTo>
                      <a:lnTo>
                        <a:pt x="321" y="648"/>
                      </a:lnTo>
                      <a:lnTo>
                        <a:pt x="341" y="64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82" name="Freeform 24"/>
                <p:cNvSpPr>
                  <a:spLocks/>
                </p:cNvSpPr>
                <p:nvPr/>
              </p:nvSpPr>
              <p:spPr bwMode="auto">
                <a:xfrm>
                  <a:off x="1082" y="2508"/>
                  <a:ext cx="397" cy="529"/>
                </a:xfrm>
                <a:custGeom>
                  <a:avLst/>
                  <a:gdLst>
                    <a:gd name="T0" fmla="*/ 391 w 397"/>
                    <a:gd name="T1" fmla="*/ 458 h 529"/>
                    <a:gd name="T2" fmla="*/ 328 w 397"/>
                    <a:gd name="T3" fmla="*/ 461 h 529"/>
                    <a:gd name="T4" fmla="*/ 308 w 397"/>
                    <a:gd name="T5" fmla="*/ 433 h 529"/>
                    <a:gd name="T6" fmla="*/ 251 w 397"/>
                    <a:gd name="T7" fmla="*/ 416 h 529"/>
                    <a:gd name="T8" fmla="*/ 208 w 397"/>
                    <a:gd name="T9" fmla="*/ 404 h 529"/>
                    <a:gd name="T10" fmla="*/ 160 w 397"/>
                    <a:gd name="T11" fmla="*/ 417 h 529"/>
                    <a:gd name="T12" fmla="*/ 112 w 397"/>
                    <a:gd name="T13" fmla="*/ 475 h 529"/>
                    <a:gd name="T14" fmla="*/ 77 w 397"/>
                    <a:gd name="T15" fmla="*/ 492 h 529"/>
                    <a:gd name="T16" fmla="*/ 30 w 397"/>
                    <a:gd name="T17" fmla="*/ 529 h 529"/>
                    <a:gd name="T18" fmla="*/ 8 w 397"/>
                    <a:gd name="T19" fmla="*/ 519 h 529"/>
                    <a:gd name="T20" fmla="*/ 10 w 397"/>
                    <a:gd name="T21" fmla="*/ 493 h 529"/>
                    <a:gd name="T22" fmla="*/ 17 w 397"/>
                    <a:gd name="T23" fmla="*/ 439 h 529"/>
                    <a:gd name="T24" fmla="*/ 25 w 397"/>
                    <a:gd name="T25" fmla="*/ 376 h 529"/>
                    <a:gd name="T26" fmla="*/ 15 w 397"/>
                    <a:gd name="T27" fmla="*/ 348 h 529"/>
                    <a:gd name="T28" fmla="*/ 64 w 397"/>
                    <a:gd name="T29" fmla="*/ 358 h 529"/>
                    <a:gd name="T30" fmla="*/ 104 w 397"/>
                    <a:gd name="T31" fmla="*/ 343 h 529"/>
                    <a:gd name="T32" fmla="*/ 105 w 397"/>
                    <a:gd name="T33" fmla="*/ 301 h 529"/>
                    <a:gd name="T34" fmla="*/ 137 w 397"/>
                    <a:gd name="T35" fmla="*/ 281 h 529"/>
                    <a:gd name="T36" fmla="*/ 116 w 397"/>
                    <a:gd name="T37" fmla="*/ 243 h 529"/>
                    <a:gd name="T38" fmla="*/ 87 w 397"/>
                    <a:gd name="T39" fmla="*/ 210 h 529"/>
                    <a:gd name="T40" fmla="*/ 91 w 397"/>
                    <a:gd name="T41" fmla="*/ 157 h 529"/>
                    <a:gd name="T42" fmla="*/ 73 w 397"/>
                    <a:gd name="T43" fmla="*/ 108 h 529"/>
                    <a:gd name="T44" fmla="*/ 113 w 397"/>
                    <a:gd name="T45" fmla="*/ 70 h 529"/>
                    <a:gd name="T46" fmla="*/ 117 w 397"/>
                    <a:gd name="T47" fmla="*/ 28 h 529"/>
                    <a:gd name="T48" fmla="*/ 153 w 397"/>
                    <a:gd name="T49" fmla="*/ 0 h 529"/>
                    <a:gd name="T50" fmla="*/ 166 w 397"/>
                    <a:gd name="T51" fmla="*/ 65 h 529"/>
                    <a:gd name="T52" fmla="*/ 186 w 397"/>
                    <a:gd name="T53" fmla="*/ 61 h 529"/>
                    <a:gd name="T54" fmla="*/ 236 w 397"/>
                    <a:gd name="T55" fmla="*/ 80 h 529"/>
                    <a:gd name="T56" fmla="*/ 265 w 397"/>
                    <a:gd name="T57" fmla="*/ 99 h 529"/>
                    <a:gd name="T58" fmla="*/ 286 w 397"/>
                    <a:gd name="T59" fmla="*/ 123 h 529"/>
                    <a:gd name="T60" fmla="*/ 295 w 397"/>
                    <a:gd name="T61" fmla="*/ 161 h 529"/>
                    <a:gd name="T62" fmla="*/ 296 w 397"/>
                    <a:gd name="T63" fmla="*/ 211 h 529"/>
                    <a:gd name="T64" fmla="*/ 271 w 397"/>
                    <a:gd name="T65" fmla="*/ 226 h 529"/>
                    <a:gd name="T66" fmla="*/ 233 w 397"/>
                    <a:gd name="T67" fmla="*/ 211 h 529"/>
                    <a:gd name="T68" fmla="*/ 255 w 397"/>
                    <a:gd name="T69" fmla="*/ 259 h 529"/>
                    <a:gd name="T70" fmla="*/ 290 w 397"/>
                    <a:gd name="T71" fmla="*/ 305 h 529"/>
                    <a:gd name="T72" fmla="*/ 359 w 397"/>
                    <a:gd name="T73" fmla="*/ 373 h 529"/>
                    <a:gd name="T74" fmla="*/ 370 w 397"/>
                    <a:gd name="T75" fmla="*/ 413 h 529"/>
                    <a:gd name="T76" fmla="*/ 381 w 397"/>
                    <a:gd name="T77" fmla="*/ 441 h 5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97"/>
                    <a:gd name="T118" fmla="*/ 0 h 529"/>
                    <a:gd name="T119" fmla="*/ 397 w 397"/>
                    <a:gd name="T120" fmla="*/ 529 h 52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97" h="529">
                      <a:moveTo>
                        <a:pt x="397" y="446"/>
                      </a:moveTo>
                      <a:lnTo>
                        <a:pt x="391" y="458"/>
                      </a:lnTo>
                      <a:lnTo>
                        <a:pt x="335" y="457"/>
                      </a:lnTo>
                      <a:lnTo>
                        <a:pt x="328" y="461"/>
                      </a:lnTo>
                      <a:lnTo>
                        <a:pt x="302" y="452"/>
                      </a:lnTo>
                      <a:lnTo>
                        <a:pt x="308" y="433"/>
                      </a:lnTo>
                      <a:lnTo>
                        <a:pt x="281" y="430"/>
                      </a:lnTo>
                      <a:lnTo>
                        <a:pt x="251" y="416"/>
                      </a:lnTo>
                      <a:lnTo>
                        <a:pt x="230" y="415"/>
                      </a:lnTo>
                      <a:lnTo>
                        <a:pt x="208" y="404"/>
                      </a:lnTo>
                      <a:lnTo>
                        <a:pt x="172" y="396"/>
                      </a:lnTo>
                      <a:lnTo>
                        <a:pt x="160" y="417"/>
                      </a:lnTo>
                      <a:lnTo>
                        <a:pt x="138" y="453"/>
                      </a:lnTo>
                      <a:lnTo>
                        <a:pt x="112" y="475"/>
                      </a:lnTo>
                      <a:lnTo>
                        <a:pt x="89" y="491"/>
                      </a:lnTo>
                      <a:lnTo>
                        <a:pt x="77" y="492"/>
                      </a:lnTo>
                      <a:lnTo>
                        <a:pt x="72" y="517"/>
                      </a:lnTo>
                      <a:lnTo>
                        <a:pt x="30" y="529"/>
                      </a:lnTo>
                      <a:lnTo>
                        <a:pt x="14" y="525"/>
                      </a:lnTo>
                      <a:lnTo>
                        <a:pt x="8" y="519"/>
                      </a:lnTo>
                      <a:lnTo>
                        <a:pt x="2" y="517"/>
                      </a:lnTo>
                      <a:lnTo>
                        <a:pt x="10" y="493"/>
                      </a:lnTo>
                      <a:lnTo>
                        <a:pt x="0" y="473"/>
                      </a:lnTo>
                      <a:lnTo>
                        <a:pt x="17" y="439"/>
                      </a:lnTo>
                      <a:lnTo>
                        <a:pt x="19" y="391"/>
                      </a:lnTo>
                      <a:lnTo>
                        <a:pt x="25" y="376"/>
                      </a:lnTo>
                      <a:lnTo>
                        <a:pt x="2" y="354"/>
                      </a:lnTo>
                      <a:lnTo>
                        <a:pt x="15" y="348"/>
                      </a:lnTo>
                      <a:lnTo>
                        <a:pt x="33" y="348"/>
                      </a:lnTo>
                      <a:lnTo>
                        <a:pt x="64" y="358"/>
                      </a:lnTo>
                      <a:lnTo>
                        <a:pt x="76" y="347"/>
                      </a:lnTo>
                      <a:lnTo>
                        <a:pt x="104" y="343"/>
                      </a:lnTo>
                      <a:lnTo>
                        <a:pt x="98" y="315"/>
                      </a:lnTo>
                      <a:lnTo>
                        <a:pt x="105" y="301"/>
                      </a:lnTo>
                      <a:lnTo>
                        <a:pt x="126" y="307"/>
                      </a:lnTo>
                      <a:lnTo>
                        <a:pt x="137" y="281"/>
                      </a:lnTo>
                      <a:lnTo>
                        <a:pt x="138" y="259"/>
                      </a:lnTo>
                      <a:lnTo>
                        <a:pt x="116" y="243"/>
                      </a:lnTo>
                      <a:lnTo>
                        <a:pt x="103" y="210"/>
                      </a:lnTo>
                      <a:lnTo>
                        <a:pt x="87" y="210"/>
                      </a:lnTo>
                      <a:lnTo>
                        <a:pt x="94" y="179"/>
                      </a:lnTo>
                      <a:lnTo>
                        <a:pt x="91" y="157"/>
                      </a:lnTo>
                      <a:lnTo>
                        <a:pt x="97" y="129"/>
                      </a:lnTo>
                      <a:lnTo>
                        <a:pt x="73" y="108"/>
                      </a:lnTo>
                      <a:lnTo>
                        <a:pt x="92" y="71"/>
                      </a:lnTo>
                      <a:lnTo>
                        <a:pt x="113" y="70"/>
                      </a:lnTo>
                      <a:lnTo>
                        <a:pt x="128" y="60"/>
                      </a:lnTo>
                      <a:lnTo>
                        <a:pt x="117" y="28"/>
                      </a:lnTo>
                      <a:lnTo>
                        <a:pt x="93" y="6"/>
                      </a:lnTo>
                      <a:lnTo>
                        <a:pt x="153" y="0"/>
                      </a:lnTo>
                      <a:lnTo>
                        <a:pt x="150" y="52"/>
                      </a:lnTo>
                      <a:lnTo>
                        <a:pt x="166" y="65"/>
                      </a:lnTo>
                      <a:lnTo>
                        <a:pt x="176" y="61"/>
                      </a:lnTo>
                      <a:lnTo>
                        <a:pt x="186" y="61"/>
                      </a:lnTo>
                      <a:lnTo>
                        <a:pt x="210" y="83"/>
                      </a:lnTo>
                      <a:lnTo>
                        <a:pt x="236" y="80"/>
                      </a:lnTo>
                      <a:lnTo>
                        <a:pt x="244" y="93"/>
                      </a:lnTo>
                      <a:lnTo>
                        <a:pt x="265" y="99"/>
                      </a:lnTo>
                      <a:lnTo>
                        <a:pt x="270" y="112"/>
                      </a:lnTo>
                      <a:lnTo>
                        <a:pt x="286" y="123"/>
                      </a:lnTo>
                      <a:lnTo>
                        <a:pt x="281" y="152"/>
                      </a:lnTo>
                      <a:lnTo>
                        <a:pt x="295" y="161"/>
                      </a:lnTo>
                      <a:lnTo>
                        <a:pt x="292" y="204"/>
                      </a:lnTo>
                      <a:lnTo>
                        <a:pt x="296" y="211"/>
                      </a:lnTo>
                      <a:lnTo>
                        <a:pt x="291" y="224"/>
                      </a:lnTo>
                      <a:lnTo>
                        <a:pt x="271" y="226"/>
                      </a:lnTo>
                      <a:lnTo>
                        <a:pt x="260" y="212"/>
                      </a:lnTo>
                      <a:lnTo>
                        <a:pt x="233" y="211"/>
                      </a:lnTo>
                      <a:lnTo>
                        <a:pt x="230" y="246"/>
                      </a:lnTo>
                      <a:lnTo>
                        <a:pt x="255" y="259"/>
                      </a:lnTo>
                      <a:lnTo>
                        <a:pt x="260" y="305"/>
                      </a:lnTo>
                      <a:lnTo>
                        <a:pt x="290" y="305"/>
                      </a:lnTo>
                      <a:lnTo>
                        <a:pt x="337" y="348"/>
                      </a:lnTo>
                      <a:lnTo>
                        <a:pt x="359" y="373"/>
                      </a:lnTo>
                      <a:lnTo>
                        <a:pt x="369" y="386"/>
                      </a:lnTo>
                      <a:lnTo>
                        <a:pt x="370" y="413"/>
                      </a:lnTo>
                      <a:lnTo>
                        <a:pt x="378" y="429"/>
                      </a:lnTo>
                      <a:lnTo>
                        <a:pt x="381" y="441"/>
                      </a:lnTo>
                      <a:lnTo>
                        <a:pt x="397" y="446"/>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29776" name="Group 25"/>
            <p:cNvGrpSpPr>
              <a:grpSpLocks/>
            </p:cNvGrpSpPr>
            <p:nvPr/>
          </p:nvGrpSpPr>
          <p:grpSpPr bwMode="auto">
            <a:xfrm>
              <a:off x="1447" y="1649"/>
              <a:ext cx="1125" cy="1283"/>
              <a:chOff x="1258" y="1971"/>
              <a:chExt cx="1125" cy="1283"/>
            </a:xfrm>
          </p:grpSpPr>
          <p:sp>
            <p:nvSpPr>
              <p:cNvPr id="29863" name="Freeform 26"/>
              <p:cNvSpPr>
                <a:spLocks/>
              </p:cNvSpPr>
              <p:nvPr/>
            </p:nvSpPr>
            <p:spPr bwMode="auto">
              <a:xfrm>
                <a:off x="1258" y="2390"/>
                <a:ext cx="418" cy="465"/>
              </a:xfrm>
              <a:custGeom>
                <a:avLst/>
                <a:gdLst>
                  <a:gd name="T0" fmla="*/ 0 w 1158"/>
                  <a:gd name="T1" fmla="*/ 0 h 1257"/>
                  <a:gd name="T2" fmla="*/ 0 w 1158"/>
                  <a:gd name="T3" fmla="*/ 0 h 1257"/>
                  <a:gd name="T4" fmla="*/ 0 w 1158"/>
                  <a:gd name="T5" fmla="*/ 0 h 1257"/>
                  <a:gd name="T6" fmla="*/ 0 w 1158"/>
                  <a:gd name="T7" fmla="*/ 0 h 1257"/>
                  <a:gd name="T8" fmla="*/ 0 w 1158"/>
                  <a:gd name="T9" fmla="*/ 0 h 1257"/>
                  <a:gd name="T10" fmla="*/ 0 w 1158"/>
                  <a:gd name="T11" fmla="*/ 0 h 1257"/>
                  <a:gd name="T12" fmla="*/ 0 w 1158"/>
                  <a:gd name="T13" fmla="*/ 0 h 1257"/>
                  <a:gd name="T14" fmla="*/ 0 w 1158"/>
                  <a:gd name="T15" fmla="*/ 0 h 1257"/>
                  <a:gd name="T16" fmla="*/ 0 w 1158"/>
                  <a:gd name="T17" fmla="*/ 0 h 1257"/>
                  <a:gd name="T18" fmla="*/ 0 w 1158"/>
                  <a:gd name="T19" fmla="*/ 0 h 1257"/>
                  <a:gd name="T20" fmla="*/ 0 w 1158"/>
                  <a:gd name="T21" fmla="*/ 0 h 1257"/>
                  <a:gd name="T22" fmla="*/ 0 w 1158"/>
                  <a:gd name="T23" fmla="*/ 0 h 1257"/>
                  <a:gd name="T24" fmla="*/ 0 w 1158"/>
                  <a:gd name="T25" fmla="*/ 0 h 1257"/>
                  <a:gd name="T26" fmla="*/ 0 w 1158"/>
                  <a:gd name="T27" fmla="*/ 0 h 1257"/>
                  <a:gd name="T28" fmla="*/ 0 w 1158"/>
                  <a:gd name="T29" fmla="*/ 0 h 1257"/>
                  <a:gd name="T30" fmla="*/ 0 w 1158"/>
                  <a:gd name="T31" fmla="*/ 0 h 1257"/>
                  <a:gd name="T32" fmla="*/ 0 w 1158"/>
                  <a:gd name="T33" fmla="*/ 0 h 1257"/>
                  <a:gd name="T34" fmla="*/ 0 w 1158"/>
                  <a:gd name="T35" fmla="*/ 0 h 1257"/>
                  <a:gd name="T36" fmla="*/ 0 w 1158"/>
                  <a:gd name="T37" fmla="*/ 0 h 1257"/>
                  <a:gd name="T38" fmla="*/ 0 w 1158"/>
                  <a:gd name="T39" fmla="*/ 0 h 1257"/>
                  <a:gd name="T40" fmla="*/ 0 w 1158"/>
                  <a:gd name="T41" fmla="*/ 0 h 1257"/>
                  <a:gd name="T42" fmla="*/ 0 w 1158"/>
                  <a:gd name="T43" fmla="*/ 0 h 1257"/>
                  <a:gd name="T44" fmla="*/ 0 w 1158"/>
                  <a:gd name="T45" fmla="*/ 0 h 1257"/>
                  <a:gd name="T46" fmla="*/ 0 w 1158"/>
                  <a:gd name="T47" fmla="*/ 0 h 1257"/>
                  <a:gd name="T48" fmla="*/ 0 w 1158"/>
                  <a:gd name="T49" fmla="*/ 0 h 1257"/>
                  <a:gd name="T50" fmla="*/ 0 w 1158"/>
                  <a:gd name="T51" fmla="*/ 0 h 1257"/>
                  <a:gd name="T52" fmla="*/ 0 w 1158"/>
                  <a:gd name="T53" fmla="*/ 0 h 1257"/>
                  <a:gd name="T54" fmla="*/ 0 w 1158"/>
                  <a:gd name="T55" fmla="*/ 0 h 1257"/>
                  <a:gd name="T56" fmla="*/ 0 w 1158"/>
                  <a:gd name="T57" fmla="*/ 0 h 1257"/>
                  <a:gd name="T58" fmla="*/ 0 w 1158"/>
                  <a:gd name="T59" fmla="*/ 0 h 1257"/>
                  <a:gd name="T60" fmla="*/ 0 w 1158"/>
                  <a:gd name="T61" fmla="*/ 0 h 1257"/>
                  <a:gd name="T62" fmla="*/ 0 w 1158"/>
                  <a:gd name="T63" fmla="*/ 0 h 1257"/>
                  <a:gd name="T64" fmla="*/ 0 w 1158"/>
                  <a:gd name="T65" fmla="*/ 0 h 1257"/>
                  <a:gd name="T66" fmla="*/ 0 w 1158"/>
                  <a:gd name="T67" fmla="*/ 0 h 1257"/>
                  <a:gd name="T68" fmla="*/ 0 w 1158"/>
                  <a:gd name="T69" fmla="*/ 0 h 1257"/>
                  <a:gd name="T70" fmla="*/ 0 w 1158"/>
                  <a:gd name="T71" fmla="*/ 0 h 1257"/>
                  <a:gd name="T72" fmla="*/ 0 w 1158"/>
                  <a:gd name="T73" fmla="*/ 0 h 1257"/>
                  <a:gd name="T74" fmla="*/ 0 w 1158"/>
                  <a:gd name="T75" fmla="*/ 0 h 1257"/>
                  <a:gd name="T76" fmla="*/ 0 w 1158"/>
                  <a:gd name="T77" fmla="*/ 0 h 1257"/>
                  <a:gd name="T78" fmla="*/ 0 w 1158"/>
                  <a:gd name="T79" fmla="*/ 0 h 1257"/>
                  <a:gd name="T80" fmla="*/ 0 w 1158"/>
                  <a:gd name="T81" fmla="*/ 0 h 1257"/>
                  <a:gd name="T82" fmla="*/ 0 w 1158"/>
                  <a:gd name="T83" fmla="*/ 0 h 1257"/>
                  <a:gd name="T84" fmla="*/ 0 w 1158"/>
                  <a:gd name="T85" fmla="*/ 0 h 12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58"/>
                  <a:gd name="T130" fmla="*/ 0 h 1257"/>
                  <a:gd name="T131" fmla="*/ 1158 w 1158"/>
                  <a:gd name="T132" fmla="*/ 1257 h 12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58" h="1257">
                    <a:moveTo>
                      <a:pt x="1158" y="660"/>
                    </a:moveTo>
                    <a:lnTo>
                      <a:pt x="1146" y="576"/>
                    </a:lnTo>
                    <a:lnTo>
                      <a:pt x="1122" y="558"/>
                    </a:lnTo>
                    <a:lnTo>
                      <a:pt x="1092" y="579"/>
                    </a:lnTo>
                    <a:lnTo>
                      <a:pt x="1035" y="573"/>
                    </a:lnTo>
                    <a:lnTo>
                      <a:pt x="1011" y="555"/>
                    </a:lnTo>
                    <a:lnTo>
                      <a:pt x="987" y="561"/>
                    </a:lnTo>
                    <a:lnTo>
                      <a:pt x="978" y="534"/>
                    </a:lnTo>
                    <a:lnTo>
                      <a:pt x="996" y="495"/>
                    </a:lnTo>
                    <a:lnTo>
                      <a:pt x="999" y="444"/>
                    </a:lnTo>
                    <a:lnTo>
                      <a:pt x="993" y="405"/>
                    </a:lnTo>
                    <a:lnTo>
                      <a:pt x="1005" y="381"/>
                    </a:lnTo>
                    <a:lnTo>
                      <a:pt x="999" y="363"/>
                    </a:lnTo>
                    <a:lnTo>
                      <a:pt x="960" y="339"/>
                    </a:lnTo>
                    <a:lnTo>
                      <a:pt x="996" y="312"/>
                    </a:lnTo>
                    <a:lnTo>
                      <a:pt x="987" y="255"/>
                    </a:lnTo>
                    <a:lnTo>
                      <a:pt x="912" y="219"/>
                    </a:lnTo>
                    <a:lnTo>
                      <a:pt x="825" y="222"/>
                    </a:lnTo>
                    <a:lnTo>
                      <a:pt x="810" y="180"/>
                    </a:lnTo>
                    <a:lnTo>
                      <a:pt x="663" y="204"/>
                    </a:lnTo>
                    <a:lnTo>
                      <a:pt x="630" y="162"/>
                    </a:lnTo>
                    <a:lnTo>
                      <a:pt x="495" y="186"/>
                    </a:lnTo>
                    <a:lnTo>
                      <a:pt x="468" y="150"/>
                    </a:lnTo>
                    <a:lnTo>
                      <a:pt x="444" y="135"/>
                    </a:lnTo>
                    <a:lnTo>
                      <a:pt x="438" y="90"/>
                    </a:lnTo>
                    <a:lnTo>
                      <a:pt x="477" y="81"/>
                    </a:lnTo>
                    <a:lnTo>
                      <a:pt x="486" y="45"/>
                    </a:lnTo>
                    <a:lnTo>
                      <a:pt x="429" y="27"/>
                    </a:lnTo>
                    <a:lnTo>
                      <a:pt x="408" y="0"/>
                    </a:lnTo>
                    <a:lnTo>
                      <a:pt x="321" y="45"/>
                    </a:lnTo>
                    <a:lnTo>
                      <a:pt x="285" y="27"/>
                    </a:lnTo>
                    <a:lnTo>
                      <a:pt x="255" y="27"/>
                    </a:lnTo>
                    <a:lnTo>
                      <a:pt x="237" y="84"/>
                    </a:lnTo>
                    <a:lnTo>
                      <a:pt x="162" y="93"/>
                    </a:lnTo>
                    <a:lnTo>
                      <a:pt x="162" y="126"/>
                    </a:lnTo>
                    <a:lnTo>
                      <a:pt x="126" y="150"/>
                    </a:lnTo>
                    <a:lnTo>
                      <a:pt x="120" y="189"/>
                    </a:lnTo>
                    <a:lnTo>
                      <a:pt x="75" y="201"/>
                    </a:lnTo>
                    <a:lnTo>
                      <a:pt x="54" y="279"/>
                    </a:lnTo>
                    <a:lnTo>
                      <a:pt x="21" y="282"/>
                    </a:lnTo>
                    <a:lnTo>
                      <a:pt x="18" y="315"/>
                    </a:lnTo>
                    <a:lnTo>
                      <a:pt x="0" y="333"/>
                    </a:lnTo>
                    <a:lnTo>
                      <a:pt x="0" y="489"/>
                    </a:lnTo>
                    <a:lnTo>
                      <a:pt x="21" y="486"/>
                    </a:lnTo>
                    <a:lnTo>
                      <a:pt x="90" y="540"/>
                    </a:lnTo>
                    <a:lnTo>
                      <a:pt x="162" y="537"/>
                    </a:lnTo>
                    <a:lnTo>
                      <a:pt x="192" y="567"/>
                    </a:lnTo>
                    <a:lnTo>
                      <a:pt x="246" y="585"/>
                    </a:lnTo>
                    <a:lnTo>
                      <a:pt x="255" y="624"/>
                    </a:lnTo>
                    <a:lnTo>
                      <a:pt x="303" y="648"/>
                    </a:lnTo>
                    <a:lnTo>
                      <a:pt x="291" y="726"/>
                    </a:lnTo>
                    <a:lnTo>
                      <a:pt x="327" y="753"/>
                    </a:lnTo>
                    <a:lnTo>
                      <a:pt x="321" y="867"/>
                    </a:lnTo>
                    <a:lnTo>
                      <a:pt x="339" y="891"/>
                    </a:lnTo>
                    <a:lnTo>
                      <a:pt x="321" y="924"/>
                    </a:lnTo>
                    <a:lnTo>
                      <a:pt x="270" y="927"/>
                    </a:lnTo>
                    <a:lnTo>
                      <a:pt x="228" y="891"/>
                    </a:lnTo>
                    <a:lnTo>
                      <a:pt x="159" y="894"/>
                    </a:lnTo>
                    <a:lnTo>
                      <a:pt x="147" y="987"/>
                    </a:lnTo>
                    <a:lnTo>
                      <a:pt x="222" y="1026"/>
                    </a:lnTo>
                    <a:lnTo>
                      <a:pt x="237" y="1152"/>
                    </a:lnTo>
                    <a:lnTo>
                      <a:pt x="321" y="1140"/>
                    </a:lnTo>
                    <a:lnTo>
                      <a:pt x="417" y="1233"/>
                    </a:lnTo>
                    <a:lnTo>
                      <a:pt x="447" y="1257"/>
                    </a:lnTo>
                    <a:lnTo>
                      <a:pt x="504" y="1245"/>
                    </a:lnTo>
                    <a:lnTo>
                      <a:pt x="519" y="1221"/>
                    </a:lnTo>
                    <a:lnTo>
                      <a:pt x="594" y="1227"/>
                    </a:lnTo>
                    <a:lnTo>
                      <a:pt x="609" y="1206"/>
                    </a:lnTo>
                    <a:lnTo>
                      <a:pt x="648" y="1227"/>
                    </a:lnTo>
                    <a:lnTo>
                      <a:pt x="702" y="1206"/>
                    </a:lnTo>
                    <a:lnTo>
                      <a:pt x="717" y="1140"/>
                    </a:lnTo>
                    <a:lnTo>
                      <a:pt x="705" y="1101"/>
                    </a:lnTo>
                    <a:lnTo>
                      <a:pt x="663" y="1065"/>
                    </a:lnTo>
                    <a:lnTo>
                      <a:pt x="648" y="1026"/>
                    </a:lnTo>
                    <a:lnTo>
                      <a:pt x="759" y="990"/>
                    </a:lnTo>
                    <a:lnTo>
                      <a:pt x="735" y="924"/>
                    </a:lnTo>
                    <a:lnTo>
                      <a:pt x="729" y="807"/>
                    </a:lnTo>
                    <a:lnTo>
                      <a:pt x="801" y="822"/>
                    </a:lnTo>
                    <a:lnTo>
                      <a:pt x="822" y="846"/>
                    </a:lnTo>
                    <a:lnTo>
                      <a:pt x="855" y="828"/>
                    </a:lnTo>
                    <a:lnTo>
                      <a:pt x="888" y="846"/>
                    </a:lnTo>
                    <a:lnTo>
                      <a:pt x="912" y="816"/>
                    </a:lnTo>
                    <a:lnTo>
                      <a:pt x="909" y="777"/>
                    </a:lnTo>
                    <a:lnTo>
                      <a:pt x="939" y="747"/>
                    </a:lnTo>
                    <a:lnTo>
                      <a:pt x="951" y="693"/>
                    </a:lnTo>
                    <a:lnTo>
                      <a:pt x="999" y="666"/>
                    </a:lnTo>
                    <a:lnTo>
                      <a:pt x="1158" y="66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4" name="Freeform 27"/>
              <p:cNvSpPr>
                <a:spLocks/>
              </p:cNvSpPr>
              <p:nvPr/>
            </p:nvSpPr>
            <p:spPr bwMode="auto">
              <a:xfrm>
                <a:off x="1522" y="2573"/>
                <a:ext cx="313" cy="337"/>
              </a:xfrm>
              <a:custGeom>
                <a:avLst/>
                <a:gdLst>
                  <a:gd name="T0" fmla="*/ 0 w 867"/>
                  <a:gd name="T1" fmla="*/ 0 h 912"/>
                  <a:gd name="T2" fmla="*/ 0 w 867"/>
                  <a:gd name="T3" fmla="*/ 0 h 912"/>
                  <a:gd name="T4" fmla="*/ 0 w 867"/>
                  <a:gd name="T5" fmla="*/ 0 h 912"/>
                  <a:gd name="T6" fmla="*/ 0 w 867"/>
                  <a:gd name="T7" fmla="*/ 0 h 912"/>
                  <a:gd name="T8" fmla="*/ 0 w 867"/>
                  <a:gd name="T9" fmla="*/ 0 h 912"/>
                  <a:gd name="T10" fmla="*/ 0 w 867"/>
                  <a:gd name="T11" fmla="*/ 0 h 912"/>
                  <a:gd name="T12" fmla="*/ 0 w 867"/>
                  <a:gd name="T13" fmla="*/ 0 h 912"/>
                  <a:gd name="T14" fmla="*/ 0 w 867"/>
                  <a:gd name="T15" fmla="*/ 0 h 912"/>
                  <a:gd name="T16" fmla="*/ 0 w 867"/>
                  <a:gd name="T17" fmla="*/ 0 h 912"/>
                  <a:gd name="T18" fmla="*/ 0 w 867"/>
                  <a:gd name="T19" fmla="*/ 0 h 912"/>
                  <a:gd name="T20" fmla="*/ 0 w 867"/>
                  <a:gd name="T21" fmla="*/ 0 h 912"/>
                  <a:gd name="T22" fmla="*/ 0 w 867"/>
                  <a:gd name="T23" fmla="*/ 0 h 912"/>
                  <a:gd name="T24" fmla="*/ 0 w 867"/>
                  <a:gd name="T25" fmla="*/ 0 h 912"/>
                  <a:gd name="T26" fmla="*/ 0 w 867"/>
                  <a:gd name="T27" fmla="*/ 0 h 912"/>
                  <a:gd name="T28" fmla="*/ 0 w 867"/>
                  <a:gd name="T29" fmla="*/ 0 h 912"/>
                  <a:gd name="T30" fmla="*/ 0 w 867"/>
                  <a:gd name="T31" fmla="*/ 0 h 912"/>
                  <a:gd name="T32" fmla="*/ 0 w 867"/>
                  <a:gd name="T33" fmla="*/ 0 h 912"/>
                  <a:gd name="T34" fmla="*/ 0 w 867"/>
                  <a:gd name="T35" fmla="*/ 0 h 912"/>
                  <a:gd name="T36" fmla="*/ 0 w 867"/>
                  <a:gd name="T37" fmla="*/ 0 h 912"/>
                  <a:gd name="T38" fmla="*/ 0 w 867"/>
                  <a:gd name="T39" fmla="*/ 0 h 912"/>
                  <a:gd name="T40" fmla="*/ 0 w 867"/>
                  <a:gd name="T41" fmla="*/ 0 h 912"/>
                  <a:gd name="T42" fmla="*/ 0 w 867"/>
                  <a:gd name="T43" fmla="*/ 0 h 912"/>
                  <a:gd name="T44" fmla="*/ 0 w 867"/>
                  <a:gd name="T45" fmla="*/ 0 h 912"/>
                  <a:gd name="T46" fmla="*/ 0 w 867"/>
                  <a:gd name="T47" fmla="*/ 0 h 912"/>
                  <a:gd name="T48" fmla="*/ 0 w 867"/>
                  <a:gd name="T49" fmla="*/ 0 h 912"/>
                  <a:gd name="T50" fmla="*/ 0 w 867"/>
                  <a:gd name="T51" fmla="*/ 0 h 912"/>
                  <a:gd name="T52" fmla="*/ 0 w 867"/>
                  <a:gd name="T53" fmla="*/ 0 h 912"/>
                  <a:gd name="T54" fmla="*/ 0 w 867"/>
                  <a:gd name="T55" fmla="*/ 0 h 912"/>
                  <a:gd name="T56" fmla="*/ 0 w 867"/>
                  <a:gd name="T57" fmla="*/ 0 h 912"/>
                  <a:gd name="T58" fmla="*/ 0 w 867"/>
                  <a:gd name="T59" fmla="*/ 0 h 912"/>
                  <a:gd name="T60" fmla="*/ 0 w 867"/>
                  <a:gd name="T61" fmla="*/ 0 h 912"/>
                  <a:gd name="T62" fmla="*/ 0 w 867"/>
                  <a:gd name="T63" fmla="*/ 0 h 912"/>
                  <a:gd name="T64" fmla="*/ 0 w 867"/>
                  <a:gd name="T65" fmla="*/ 0 h 912"/>
                  <a:gd name="T66" fmla="*/ 0 w 867"/>
                  <a:gd name="T67" fmla="*/ 0 h 912"/>
                  <a:gd name="T68" fmla="*/ 0 w 867"/>
                  <a:gd name="T69" fmla="*/ 0 h 912"/>
                  <a:gd name="T70" fmla="*/ 0 w 867"/>
                  <a:gd name="T71" fmla="*/ 0 h 912"/>
                  <a:gd name="T72" fmla="*/ 0 w 867"/>
                  <a:gd name="T73" fmla="*/ 0 h 912"/>
                  <a:gd name="T74" fmla="*/ 0 w 867"/>
                  <a:gd name="T75" fmla="*/ 0 h 912"/>
                  <a:gd name="T76" fmla="*/ 0 w 867"/>
                  <a:gd name="T77" fmla="*/ 0 h 912"/>
                  <a:gd name="T78" fmla="*/ 0 w 867"/>
                  <a:gd name="T79" fmla="*/ 0 h 912"/>
                  <a:gd name="T80" fmla="*/ 0 w 867"/>
                  <a:gd name="T81" fmla="*/ 0 h 912"/>
                  <a:gd name="T82" fmla="*/ 0 w 867"/>
                  <a:gd name="T83" fmla="*/ 0 h 912"/>
                  <a:gd name="T84" fmla="*/ 0 w 867"/>
                  <a:gd name="T85" fmla="*/ 0 h 912"/>
                  <a:gd name="T86" fmla="*/ 0 w 867"/>
                  <a:gd name="T87" fmla="*/ 0 h 912"/>
                  <a:gd name="T88" fmla="*/ 0 w 867"/>
                  <a:gd name="T89" fmla="*/ 0 h 912"/>
                  <a:gd name="T90" fmla="*/ 0 w 867"/>
                  <a:gd name="T91" fmla="*/ 0 h 912"/>
                  <a:gd name="T92" fmla="*/ 0 w 867"/>
                  <a:gd name="T93" fmla="*/ 0 h 912"/>
                  <a:gd name="T94" fmla="*/ 0 w 867"/>
                  <a:gd name="T95" fmla="*/ 0 h 912"/>
                  <a:gd name="T96" fmla="*/ 0 w 867"/>
                  <a:gd name="T97" fmla="*/ 0 h 912"/>
                  <a:gd name="T98" fmla="*/ 0 w 867"/>
                  <a:gd name="T99" fmla="*/ 0 h 912"/>
                  <a:gd name="T100" fmla="*/ 0 w 867"/>
                  <a:gd name="T101" fmla="*/ 0 h 912"/>
                  <a:gd name="T102" fmla="*/ 0 w 867"/>
                  <a:gd name="T103" fmla="*/ 0 h 912"/>
                  <a:gd name="T104" fmla="*/ 0 w 867"/>
                  <a:gd name="T105" fmla="*/ 0 h 912"/>
                  <a:gd name="T106" fmla="*/ 0 w 867"/>
                  <a:gd name="T107" fmla="*/ 0 h 912"/>
                  <a:gd name="T108" fmla="*/ 0 w 867"/>
                  <a:gd name="T109" fmla="*/ 0 h 912"/>
                  <a:gd name="T110" fmla="*/ 0 w 867"/>
                  <a:gd name="T111" fmla="*/ 0 h 912"/>
                  <a:gd name="T112" fmla="*/ 0 w 867"/>
                  <a:gd name="T113" fmla="*/ 0 h 912"/>
                  <a:gd name="T114" fmla="*/ 0 w 867"/>
                  <a:gd name="T115" fmla="*/ 0 h 912"/>
                  <a:gd name="T116" fmla="*/ 0 w 867"/>
                  <a:gd name="T117" fmla="*/ 0 h 9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67"/>
                  <a:gd name="T178" fmla="*/ 0 h 912"/>
                  <a:gd name="T179" fmla="*/ 867 w 867"/>
                  <a:gd name="T180" fmla="*/ 912 h 9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67" h="912">
                    <a:moveTo>
                      <a:pt x="759" y="801"/>
                    </a:moveTo>
                    <a:lnTo>
                      <a:pt x="777" y="759"/>
                    </a:lnTo>
                    <a:lnTo>
                      <a:pt x="777" y="735"/>
                    </a:lnTo>
                    <a:lnTo>
                      <a:pt x="780" y="687"/>
                    </a:lnTo>
                    <a:lnTo>
                      <a:pt x="813" y="660"/>
                    </a:lnTo>
                    <a:lnTo>
                      <a:pt x="807" y="594"/>
                    </a:lnTo>
                    <a:lnTo>
                      <a:pt x="840" y="567"/>
                    </a:lnTo>
                    <a:lnTo>
                      <a:pt x="867" y="534"/>
                    </a:lnTo>
                    <a:lnTo>
                      <a:pt x="864" y="501"/>
                    </a:lnTo>
                    <a:lnTo>
                      <a:pt x="744" y="384"/>
                    </a:lnTo>
                    <a:lnTo>
                      <a:pt x="672" y="351"/>
                    </a:lnTo>
                    <a:lnTo>
                      <a:pt x="627" y="357"/>
                    </a:lnTo>
                    <a:lnTo>
                      <a:pt x="603" y="210"/>
                    </a:lnTo>
                    <a:lnTo>
                      <a:pt x="627" y="174"/>
                    </a:lnTo>
                    <a:lnTo>
                      <a:pt x="618" y="150"/>
                    </a:lnTo>
                    <a:lnTo>
                      <a:pt x="636" y="126"/>
                    </a:lnTo>
                    <a:lnTo>
                      <a:pt x="660" y="123"/>
                    </a:lnTo>
                    <a:lnTo>
                      <a:pt x="663" y="93"/>
                    </a:lnTo>
                    <a:lnTo>
                      <a:pt x="648" y="81"/>
                    </a:lnTo>
                    <a:lnTo>
                      <a:pt x="642" y="21"/>
                    </a:lnTo>
                    <a:lnTo>
                      <a:pt x="582" y="0"/>
                    </a:lnTo>
                    <a:lnTo>
                      <a:pt x="549" y="12"/>
                    </a:lnTo>
                    <a:lnTo>
                      <a:pt x="519" y="24"/>
                    </a:lnTo>
                    <a:lnTo>
                      <a:pt x="504" y="21"/>
                    </a:lnTo>
                    <a:lnTo>
                      <a:pt x="468" y="27"/>
                    </a:lnTo>
                    <a:lnTo>
                      <a:pt x="459" y="51"/>
                    </a:lnTo>
                    <a:lnTo>
                      <a:pt x="417" y="87"/>
                    </a:lnTo>
                    <a:lnTo>
                      <a:pt x="426" y="168"/>
                    </a:lnTo>
                    <a:lnTo>
                      <a:pt x="261" y="174"/>
                    </a:lnTo>
                    <a:lnTo>
                      <a:pt x="213" y="201"/>
                    </a:lnTo>
                    <a:lnTo>
                      <a:pt x="207" y="255"/>
                    </a:lnTo>
                    <a:lnTo>
                      <a:pt x="180" y="285"/>
                    </a:lnTo>
                    <a:lnTo>
                      <a:pt x="180" y="327"/>
                    </a:lnTo>
                    <a:lnTo>
                      <a:pt x="159" y="348"/>
                    </a:lnTo>
                    <a:lnTo>
                      <a:pt x="123" y="333"/>
                    </a:lnTo>
                    <a:lnTo>
                      <a:pt x="93" y="351"/>
                    </a:lnTo>
                    <a:lnTo>
                      <a:pt x="66" y="330"/>
                    </a:lnTo>
                    <a:lnTo>
                      <a:pt x="0" y="312"/>
                    </a:lnTo>
                    <a:lnTo>
                      <a:pt x="0" y="435"/>
                    </a:lnTo>
                    <a:lnTo>
                      <a:pt x="33" y="495"/>
                    </a:lnTo>
                    <a:lnTo>
                      <a:pt x="51" y="516"/>
                    </a:lnTo>
                    <a:lnTo>
                      <a:pt x="138" y="543"/>
                    </a:lnTo>
                    <a:lnTo>
                      <a:pt x="132" y="561"/>
                    </a:lnTo>
                    <a:lnTo>
                      <a:pt x="147" y="582"/>
                    </a:lnTo>
                    <a:lnTo>
                      <a:pt x="159" y="714"/>
                    </a:lnTo>
                    <a:lnTo>
                      <a:pt x="276" y="699"/>
                    </a:lnTo>
                    <a:lnTo>
                      <a:pt x="306" y="690"/>
                    </a:lnTo>
                    <a:lnTo>
                      <a:pt x="357" y="702"/>
                    </a:lnTo>
                    <a:lnTo>
                      <a:pt x="342" y="798"/>
                    </a:lnTo>
                    <a:lnTo>
                      <a:pt x="348" y="831"/>
                    </a:lnTo>
                    <a:lnTo>
                      <a:pt x="387" y="855"/>
                    </a:lnTo>
                    <a:lnTo>
                      <a:pt x="432" y="912"/>
                    </a:lnTo>
                    <a:lnTo>
                      <a:pt x="471" y="903"/>
                    </a:lnTo>
                    <a:lnTo>
                      <a:pt x="495" y="858"/>
                    </a:lnTo>
                    <a:lnTo>
                      <a:pt x="624" y="825"/>
                    </a:lnTo>
                    <a:lnTo>
                      <a:pt x="636" y="780"/>
                    </a:lnTo>
                    <a:lnTo>
                      <a:pt x="657" y="774"/>
                    </a:lnTo>
                    <a:lnTo>
                      <a:pt x="690" y="804"/>
                    </a:lnTo>
                    <a:lnTo>
                      <a:pt x="759" y="80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5" name="Freeform 28"/>
              <p:cNvSpPr>
                <a:spLocks/>
              </p:cNvSpPr>
              <p:nvPr/>
            </p:nvSpPr>
            <p:spPr bwMode="auto">
              <a:xfrm>
                <a:off x="1546" y="2292"/>
                <a:ext cx="367" cy="311"/>
              </a:xfrm>
              <a:custGeom>
                <a:avLst/>
                <a:gdLst>
                  <a:gd name="T0" fmla="*/ 0 w 1017"/>
                  <a:gd name="T1" fmla="*/ 0 h 843"/>
                  <a:gd name="T2" fmla="*/ 0 w 1017"/>
                  <a:gd name="T3" fmla="*/ 0 h 843"/>
                  <a:gd name="T4" fmla="*/ 0 w 1017"/>
                  <a:gd name="T5" fmla="*/ 0 h 843"/>
                  <a:gd name="T6" fmla="*/ 0 w 1017"/>
                  <a:gd name="T7" fmla="*/ 0 h 843"/>
                  <a:gd name="T8" fmla="*/ 0 w 1017"/>
                  <a:gd name="T9" fmla="*/ 0 h 843"/>
                  <a:gd name="T10" fmla="*/ 0 w 1017"/>
                  <a:gd name="T11" fmla="*/ 0 h 843"/>
                  <a:gd name="T12" fmla="*/ 0 w 1017"/>
                  <a:gd name="T13" fmla="*/ 0 h 843"/>
                  <a:gd name="T14" fmla="*/ 0 w 1017"/>
                  <a:gd name="T15" fmla="*/ 0 h 843"/>
                  <a:gd name="T16" fmla="*/ 0 w 1017"/>
                  <a:gd name="T17" fmla="*/ 0 h 843"/>
                  <a:gd name="T18" fmla="*/ 0 w 1017"/>
                  <a:gd name="T19" fmla="*/ 0 h 843"/>
                  <a:gd name="T20" fmla="*/ 0 w 1017"/>
                  <a:gd name="T21" fmla="*/ 0 h 843"/>
                  <a:gd name="T22" fmla="*/ 0 w 1017"/>
                  <a:gd name="T23" fmla="*/ 0 h 843"/>
                  <a:gd name="T24" fmla="*/ 0 w 1017"/>
                  <a:gd name="T25" fmla="*/ 0 h 843"/>
                  <a:gd name="T26" fmla="*/ 0 w 1017"/>
                  <a:gd name="T27" fmla="*/ 0 h 843"/>
                  <a:gd name="T28" fmla="*/ 0 w 1017"/>
                  <a:gd name="T29" fmla="*/ 0 h 843"/>
                  <a:gd name="T30" fmla="*/ 0 w 1017"/>
                  <a:gd name="T31" fmla="*/ 0 h 843"/>
                  <a:gd name="T32" fmla="*/ 0 w 1017"/>
                  <a:gd name="T33" fmla="*/ 0 h 843"/>
                  <a:gd name="T34" fmla="*/ 0 w 1017"/>
                  <a:gd name="T35" fmla="*/ 0 h 843"/>
                  <a:gd name="T36" fmla="*/ 0 w 1017"/>
                  <a:gd name="T37" fmla="*/ 0 h 843"/>
                  <a:gd name="T38" fmla="*/ 0 w 1017"/>
                  <a:gd name="T39" fmla="*/ 0 h 843"/>
                  <a:gd name="T40" fmla="*/ 0 w 1017"/>
                  <a:gd name="T41" fmla="*/ 0 h 843"/>
                  <a:gd name="T42" fmla="*/ 0 w 1017"/>
                  <a:gd name="T43" fmla="*/ 0 h 843"/>
                  <a:gd name="T44" fmla="*/ 0 w 1017"/>
                  <a:gd name="T45" fmla="*/ 0 h 843"/>
                  <a:gd name="T46" fmla="*/ 0 w 1017"/>
                  <a:gd name="T47" fmla="*/ 0 h 843"/>
                  <a:gd name="T48" fmla="*/ 0 w 1017"/>
                  <a:gd name="T49" fmla="*/ 0 h 843"/>
                  <a:gd name="T50" fmla="*/ 0 w 1017"/>
                  <a:gd name="T51" fmla="*/ 0 h 843"/>
                  <a:gd name="T52" fmla="*/ 0 w 1017"/>
                  <a:gd name="T53" fmla="*/ 0 h 843"/>
                  <a:gd name="T54" fmla="*/ 0 w 1017"/>
                  <a:gd name="T55" fmla="*/ 0 h 843"/>
                  <a:gd name="T56" fmla="*/ 0 w 1017"/>
                  <a:gd name="T57" fmla="*/ 0 h 843"/>
                  <a:gd name="T58" fmla="*/ 0 w 1017"/>
                  <a:gd name="T59" fmla="*/ 0 h 843"/>
                  <a:gd name="T60" fmla="*/ 0 w 1017"/>
                  <a:gd name="T61" fmla="*/ 0 h 843"/>
                  <a:gd name="T62" fmla="*/ 0 w 1017"/>
                  <a:gd name="T63" fmla="*/ 0 h 843"/>
                  <a:gd name="T64" fmla="*/ 0 w 1017"/>
                  <a:gd name="T65" fmla="*/ 0 h 843"/>
                  <a:gd name="T66" fmla="*/ 0 w 1017"/>
                  <a:gd name="T67" fmla="*/ 0 h 843"/>
                  <a:gd name="T68" fmla="*/ 0 w 1017"/>
                  <a:gd name="T69" fmla="*/ 0 h 843"/>
                  <a:gd name="T70" fmla="*/ 0 w 1017"/>
                  <a:gd name="T71" fmla="*/ 0 h 843"/>
                  <a:gd name="T72" fmla="*/ 0 w 1017"/>
                  <a:gd name="T73" fmla="*/ 0 h 843"/>
                  <a:gd name="T74" fmla="*/ 0 w 1017"/>
                  <a:gd name="T75" fmla="*/ 0 h 843"/>
                  <a:gd name="T76" fmla="*/ 0 w 1017"/>
                  <a:gd name="T77" fmla="*/ 0 h 843"/>
                  <a:gd name="T78" fmla="*/ 0 w 1017"/>
                  <a:gd name="T79" fmla="*/ 0 h 8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17"/>
                  <a:gd name="T121" fmla="*/ 0 h 843"/>
                  <a:gd name="T122" fmla="*/ 1017 w 1017"/>
                  <a:gd name="T123" fmla="*/ 843 h 8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17" h="843">
                    <a:moveTo>
                      <a:pt x="828" y="747"/>
                    </a:moveTo>
                    <a:lnTo>
                      <a:pt x="840" y="570"/>
                    </a:lnTo>
                    <a:lnTo>
                      <a:pt x="819" y="531"/>
                    </a:lnTo>
                    <a:lnTo>
                      <a:pt x="819" y="477"/>
                    </a:lnTo>
                    <a:lnTo>
                      <a:pt x="843" y="453"/>
                    </a:lnTo>
                    <a:lnTo>
                      <a:pt x="900" y="465"/>
                    </a:lnTo>
                    <a:lnTo>
                      <a:pt x="933" y="453"/>
                    </a:lnTo>
                    <a:lnTo>
                      <a:pt x="936" y="396"/>
                    </a:lnTo>
                    <a:lnTo>
                      <a:pt x="900" y="396"/>
                    </a:lnTo>
                    <a:lnTo>
                      <a:pt x="879" y="360"/>
                    </a:lnTo>
                    <a:lnTo>
                      <a:pt x="894" y="318"/>
                    </a:lnTo>
                    <a:lnTo>
                      <a:pt x="936" y="279"/>
                    </a:lnTo>
                    <a:lnTo>
                      <a:pt x="966" y="267"/>
                    </a:lnTo>
                    <a:lnTo>
                      <a:pt x="990" y="285"/>
                    </a:lnTo>
                    <a:lnTo>
                      <a:pt x="1017" y="261"/>
                    </a:lnTo>
                    <a:lnTo>
                      <a:pt x="1011" y="225"/>
                    </a:lnTo>
                    <a:lnTo>
                      <a:pt x="957" y="171"/>
                    </a:lnTo>
                    <a:lnTo>
                      <a:pt x="918" y="183"/>
                    </a:lnTo>
                    <a:lnTo>
                      <a:pt x="831" y="174"/>
                    </a:lnTo>
                    <a:lnTo>
                      <a:pt x="816" y="210"/>
                    </a:lnTo>
                    <a:lnTo>
                      <a:pt x="750" y="231"/>
                    </a:lnTo>
                    <a:lnTo>
                      <a:pt x="717" y="210"/>
                    </a:lnTo>
                    <a:lnTo>
                      <a:pt x="696" y="216"/>
                    </a:lnTo>
                    <a:lnTo>
                      <a:pt x="651" y="189"/>
                    </a:lnTo>
                    <a:lnTo>
                      <a:pt x="618" y="201"/>
                    </a:lnTo>
                    <a:lnTo>
                      <a:pt x="573" y="201"/>
                    </a:lnTo>
                    <a:lnTo>
                      <a:pt x="522" y="228"/>
                    </a:lnTo>
                    <a:lnTo>
                      <a:pt x="516" y="267"/>
                    </a:lnTo>
                    <a:lnTo>
                      <a:pt x="483" y="255"/>
                    </a:lnTo>
                    <a:lnTo>
                      <a:pt x="459" y="210"/>
                    </a:lnTo>
                    <a:lnTo>
                      <a:pt x="426" y="201"/>
                    </a:lnTo>
                    <a:lnTo>
                      <a:pt x="402" y="240"/>
                    </a:lnTo>
                    <a:lnTo>
                      <a:pt x="333" y="219"/>
                    </a:lnTo>
                    <a:lnTo>
                      <a:pt x="312" y="165"/>
                    </a:lnTo>
                    <a:lnTo>
                      <a:pt x="234" y="171"/>
                    </a:lnTo>
                    <a:lnTo>
                      <a:pt x="231" y="108"/>
                    </a:lnTo>
                    <a:lnTo>
                      <a:pt x="243" y="93"/>
                    </a:lnTo>
                    <a:lnTo>
                      <a:pt x="279" y="108"/>
                    </a:lnTo>
                    <a:lnTo>
                      <a:pt x="318" y="87"/>
                    </a:lnTo>
                    <a:lnTo>
                      <a:pt x="330" y="27"/>
                    </a:lnTo>
                    <a:lnTo>
                      <a:pt x="318" y="0"/>
                    </a:lnTo>
                    <a:lnTo>
                      <a:pt x="204" y="3"/>
                    </a:lnTo>
                    <a:lnTo>
                      <a:pt x="156" y="54"/>
                    </a:lnTo>
                    <a:lnTo>
                      <a:pt x="165" y="84"/>
                    </a:lnTo>
                    <a:lnTo>
                      <a:pt x="138" y="120"/>
                    </a:lnTo>
                    <a:lnTo>
                      <a:pt x="126" y="171"/>
                    </a:lnTo>
                    <a:lnTo>
                      <a:pt x="99" y="183"/>
                    </a:lnTo>
                    <a:lnTo>
                      <a:pt x="105" y="204"/>
                    </a:lnTo>
                    <a:lnTo>
                      <a:pt x="42" y="261"/>
                    </a:lnTo>
                    <a:lnTo>
                      <a:pt x="72" y="345"/>
                    </a:lnTo>
                    <a:lnTo>
                      <a:pt x="96" y="363"/>
                    </a:lnTo>
                    <a:lnTo>
                      <a:pt x="90" y="396"/>
                    </a:lnTo>
                    <a:lnTo>
                      <a:pt x="0" y="399"/>
                    </a:lnTo>
                    <a:lnTo>
                      <a:pt x="9" y="450"/>
                    </a:lnTo>
                    <a:lnTo>
                      <a:pt x="27" y="489"/>
                    </a:lnTo>
                    <a:lnTo>
                      <a:pt x="114" y="489"/>
                    </a:lnTo>
                    <a:lnTo>
                      <a:pt x="186" y="522"/>
                    </a:lnTo>
                    <a:lnTo>
                      <a:pt x="198" y="585"/>
                    </a:lnTo>
                    <a:lnTo>
                      <a:pt x="165" y="603"/>
                    </a:lnTo>
                    <a:lnTo>
                      <a:pt x="201" y="633"/>
                    </a:lnTo>
                    <a:lnTo>
                      <a:pt x="204" y="657"/>
                    </a:lnTo>
                    <a:lnTo>
                      <a:pt x="198" y="687"/>
                    </a:lnTo>
                    <a:lnTo>
                      <a:pt x="201" y="759"/>
                    </a:lnTo>
                    <a:lnTo>
                      <a:pt x="177" y="795"/>
                    </a:lnTo>
                    <a:lnTo>
                      <a:pt x="186" y="831"/>
                    </a:lnTo>
                    <a:lnTo>
                      <a:pt x="216" y="822"/>
                    </a:lnTo>
                    <a:lnTo>
                      <a:pt x="231" y="837"/>
                    </a:lnTo>
                    <a:lnTo>
                      <a:pt x="294" y="843"/>
                    </a:lnTo>
                    <a:lnTo>
                      <a:pt x="324" y="822"/>
                    </a:lnTo>
                    <a:lnTo>
                      <a:pt x="348" y="843"/>
                    </a:lnTo>
                    <a:lnTo>
                      <a:pt x="396" y="810"/>
                    </a:lnTo>
                    <a:lnTo>
                      <a:pt x="402" y="786"/>
                    </a:lnTo>
                    <a:lnTo>
                      <a:pt x="450" y="780"/>
                    </a:lnTo>
                    <a:lnTo>
                      <a:pt x="519" y="762"/>
                    </a:lnTo>
                    <a:lnTo>
                      <a:pt x="582" y="789"/>
                    </a:lnTo>
                    <a:lnTo>
                      <a:pt x="645" y="735"/>
                    </a:lnTo>
                    <a:lnTo>
                      <a:pt x="657" y="702"/>
                    </a:lnTo>
                    <a:lnTo>
                      <a:pt x="720" y="732"/>
                    </a:lnTo>
                    <a:lnTo>
                      <a:pt x="759" y="732"/>
                    </a:lnTo>
                    <a:lnTo>
                      <a:pt x="828" y="74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6" name="Freeform 29"/>
              <p:cNvSpPr>
                <a:spLocks/>
              </p:cNvSpPr>
              <p:nvPr/>
            </p:nvSpPr>
            <p:spPr bwMode="auto">
              <a:xfrm>
                <a:off x="1613" y="1971"/>
                <a:ext cx="387" cy="418"/>
              </a:xfrm>
              <a:custGeom>
                <a:avLst/>
                <a:gdLst>
                  <a:gd name="T0" fmla="*/ 316 w 387"/>
                  <a:gd name="T1" fmla="*/ 370 h 418"/>
                  <a:gd name="T2" fmla="*/ 280 w 387"/>
                  <a:gd name="T3" fmla="*/ 384 h 418"/>
                  <a:gd name="T4" fmla="*/ 230 w 387"/>
                  <a:gd name="T5" fmla="*/ 386 h 418"/>
                  <a:gd name="T6" fmla="*/ 202 w 387"/>
                  <a:gd name="T7" fmla="*/ 405 h 418"/>
                  <a:gd name="T8" fmla="*/ 182 w 387"/>
                  <a:gd name="T9" fmla="*/ 399 h 418"/>
                  <a:gd name="T10" fmla="*/ 152 w 387"/>
                  <a:gd name="T11" fmla="*/ 394 h 418"/>
                  <a:gd name="T12" fmla="*/ 119 w 387"/>
                  <a:gd name="T13" fmla="*/ 406 h 418"/>
                  <a:gd name="T14" fmla="*/ 106 w 387"/>
                  <a:gd name="T15" fmla="*/ 415 h 418"/>
                  <a:gd name="T16" fmla="*/ 84 w 387"/>
                  <a:gd name="T17" fmla="*/ 395 h 418"/>
                  <a:gd name="T18" fmla="*/ 53 w 387"/>
                  <a:gd name="T19" fmla="*/ 401 h 418"/>
                  <a:gd name="T20" fmla="*/ 19 w 387"/>
                  <a:gd name="T21" fmla="*/ 383 h 418"/>
                  <a:gd name="T22" fmla="*/ 19 w 387"/>
                  <a:gd name="T23" fmla="*/ 356 h 418"/>
                  <a:gd name="T24" fmla="*/ 46 w 387"/>
                  <a:gd name="T25" fmla="*/ 353 h 418"/>
                  <a:gd name="T26" fmla="*/ 46 w 387"/>
                  <a:gd name="T27" fmla="*/ 319 h 418"/>
                  <a:gd name="T28" fmla="*/ 0 w 387"/>
                  <a:gd name="T29" fmla="*/ 273 h 418"/>
                  <a:gd name="T30" fmla="*/ 9 w 387"/>
                  <a:gd name="T31" fmla="*/ 197 h 418"/>
                  <a:gd name="T32" fmla="*/ 40 w 387"/>
                  <a:gd name="T33" fmla="*/ 186 h 418"/>
                  <a:gd name="T34" fmla="*/ 66 w 387"/>
                  <a:gd name="T35" fmla="*/ 172 h 418"/>
                  <a:gd name="T36" fmla="*/ 118 w 387"/>
                  <a:gd name="T37" fmla="*/ 145 h 418"/>
                  <a:gd name="T38" fmla="*/ 133 w 387"/>
                  <a:gd name="T39" fmla="*/ 141 h 418"/>
                  <a:gd name="T40" fmla="*/ 227 w 387"/>
                  <a:gd name="T41" fmla="*/ 86 h 418"/>
                  <a:gd name="T42" fmla="*/ 249 w 387"/>
                  <a:gd name="T43" fmla="*/ 44 h 418"/>
                  <a:gd name="T44" fmla="*/ 296 w 387"/>
                  <a:gd name="T45" fmla="*/ 11 h 418"/>
                  <a:gd name="T46" fmla="*/ 345 w 387"/>
                  <a:gd name="T47" fmla="*/ 8 h 418"/>
                  <a:gd name="T48" fmla="*/ 377 w 387"/>
                  <a:gd name="T49" fmla="*/ 4 h 418"/>
                  <a:gd name="T50" fmla="*/ 385 w 387"/>
                  <a:gd name="T51" fmla="*/ 49 h 418"/>
                  <a:gd name="T52" fmla="*/ 386 w 387"/>
                  <a:gd name="T53" fmla="*/ 70 h 418"/>
                  <a:gd name="T54" fmla="*/ 353 w 387"/>
                  <a:gd name="T55" fmla="*/ 108 h 418"/>
                  <a:gd name="T56" fmla="*/ 326 w 387"/>
                  <a:gd name="T57" fmla="*/ 132 h 418"/>
                  <a:gd name="T58" fmla="*/ 292 w 387"/>
                  <a:gd name="T59" fmla="*/ 186 h 418"/>
                  <a:gd name="T60" fmla="*/ 292 w 387"/>
                  <a:gd name="T61" fmla="*/ 256 h 418"/>
                  <a:gd name="T62" fmla="*/ 315 w 387"/>
                  <a:gd name="T63" fmla="*/ 281 h 418"/>
                  <a:gd name="T64" fmla="*/ 297 w 387"/>
                  <a:gd name="T65" fmla="*/ 339 h 4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7"/>
                  <a:gd name="T100" fmla="*/ 0 h 418"/>
                  <a:gd name="T101" fmla="*/ 387 w 387"/>
                  <a:gd name="T102" fmla="*/ 418 h 4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7" h="418">
                    <a:moveTo>
                      <a:pt x="345" y="340"/>
                    </a:moveTo>
                    <a:lnTo>
                      <a:pt x="316" y="370"/>
                    </a:lnTo>
                    <a:lnTo>
                      <a:pt x="295" y="373"/>
                    </a:lnTo>
                    <a:lnTo>
                      <a:pt x="280" y="384"/>
                    </a:lnTo>
                    <a:lnTo>
                      <a:pt x="262" y="388"/>
                    </a:lnTo>
                    <a:lnTo>
                      <a:pt x="230" y="386"/>
                    </a:lnTo>
                    <a:lnTo>
                      <a:pt x="225" y="398"/>
                    </a:lnTo>
                    <a:lnTo>
                      <a:pt x="202" y="405"/>
                    </a:lnTo>
                    <a:lnTo>
                      <a:pt x="190" y="397"/>
                    </a:lnTo>
                    <a:lnTo>
                      <a:pt x="182" y="399"/>
                    </a:lnTo>
                    <a:lnTo>
                      <a:pt x="162" y="391"/>
                    </a:lnTo>
                    <a:lnTo>
                      <a:pt x="152" y="394"/>
                    </a:lnTo>
                    <a:lnTo>
                      <a:pt x="141" y="394"/>
                    </a:lnTo>
                    <a:lnTo>
                      <a:pt x="119" y="406"/>
                    </a:lnTo>
                    <a:lnTo>
                      <a:pt x="119" y="418"/>
                    </a:lnTo>
                    <a:lnTo>
                      <a:pt x="106" y="415"/>
                    </a:lnTo>
                    <a:lnTo>
                      <a:pt x="97" y="397"/>
                    </a:lnTo>
                    <a:lnTo>
                      <a:pt x="84" y="395"/>
                    </a:lnTo>
                    <a:lnTo>
                      <a:pt x="79" y="408"/>
                    </a:lnTo>
                    <a:lnTo>
                      <a:pt x="53" y="401"/>
                    </a:lnTo>
                    <a:lnTo>
                      <a:pt x="48" y="383"/>
                    </a:lnTo>
                    <a:lnTo>
                      <a:pt x="19" y="383"/>
                    </a:lnTo>
                    <a:lnTo>
                      <a:pt x="16" y="363"/>
                    </a:lnTo>
                    <a:lnTo>
                      <a:pt x="19" y="356"/>
                    </a:lnTo>
                    <a:lnTo>
                      <a:pt x="35" y="361"/>
                    </a:lnTo>
                    <a:lnTo>
                      <a:pt x="46" y="353"/>
                    </a:lnTo>
                    <a:lnTo>
                      <a:pt x="52" y="328"/>
                    </a:lnTo>
                    <a:lnTo>
                      <a:pt x="46" y="319"/>
                    </a:lnTo>
                    <a:lnTo>
                      <a:pt x="5" y="320"/>
                    </a:lnTo>
                    <a:lnTo>
                      <a:pt x="0" y="273"/>
                    </a:lnTo>
                    <a:lnTo>
                      <a:pt x="4" y="211"/>
                    </a:lnTo>
                    <a:lnTo>
                      <a:pt x="9" y="197"/>
                    </a:lnTo>
                    <a:lnTo>
                      <a:pt x="13" y="184"/>
                    </a:lnTo>
                    <a:lnTo>
                      <a:pt x="40" y="186"/>
                    </a:lnTo>
                    <a:lnTo>
                      <a:pt x="61" y="180"/>
                    </a:lnTo>
                    <a:lnTo>
                      <a:pt x="66" y="172"/>
                    </a:lnTo>
                    <a:lnTo>
                      <a:pt x="99" y="161"/>
                    </a:lnTo>
                    <a:lnTo>
                      <a:pt x="118" y="145"/>
                    </a:lnTo>
                    <a:lnTo>
                      <a:pt x="137" y="134"/>
                    </a:lnTo>
                    <a:lnTo>
                      <a:pt x="133" y="141"/>
                    </a:lnTo>
                    <a:lnTo>
                      <a:pt x="183" y="123"/>
                    </a:lnTo>
                    <a:lnTo>
                      <a:pt x="227" y="86"/>
                    </a:lnTo>
                    <a:lnTo>
                      <a:pt x="223" y="81"/>
                    </a:lnTo>
                    <a:lnTo>
                      <a:pt x="249" y="44"/>
                    </a:lnTo>
                    <a:lnTo>
                      <a:pt x="276" y="18"/>
                    </a:lnTo>
                    <a:lnTo>
                      <a:pt x="296" y="11"/>
                    </a:lnTo>
                    <a:lnTo>
                      <a:pt x="310" y="2"/>
                    </a:lnTo>
                    <a:lnTo>
                      <a:pt x="345" y="8"/>
                    </a:lnTo>
                    <a:lnTo>
                      <a:pt x="364" y="0"/>
                    </a:lnTo>
                    <a:lnTo>
                      <a:pt x="377" y="4"/>
                    </a:lnTo>
                    <a:lnTo>
                      <a:pt x="387" y="32"/>
                    </a:lnTo>
                    <a:lnTo>
                      <a:pt x="385" y="49"/>
                    </a:lnTo>
                    <a:lnTo>
                      <a:pt x="379" y="57"/>
                    </a:lnTo>
                    <a:lnTo>
                      <a:pt x="386" y="70"/>
                    </a:lnTo>
                    <a:lnTo>
                      <a:pt x="383" y="83"/>
                    </a:lnTo>
                    <a:lnTo>
                      <a:pt x="353" y="108"/>
                    </a:lnTo>
                    <a:lnTo>
                      <a:pt x="332" y="118"/>
                    </a:lnTo>
                    <a:lnTo>
                      <a:pt x="326" y="132"/>
                    </a:lnTo>
                    <a:lnTo>
                      <a:pt x="301" y="166"/>
                    </a:lnTo>
                    <a:lnTo>
                      <a:pt x="292" y="186"/>
                    </a:lnTo>
                    <a:lnTo>
                      <a:pt x="293" y="239"/>
                    </a:lnTo>
                    <a:lnTo>
                      <a:pt x="292" y="256"/>
                    </a:lnTo>
                    <a:lnTo>
                      <a:pt x="286" y="277"/>
                    </a:lnTo>
                    <a:lnTo>
                      <a:pt x="315" y="281"/>
                    </a:lnTo>
                    <a:lnTo>
                      <a:pt x="316" y="314"/>
                    </a:lnTo>
                    <a:lnTo>
                      <a:pt x="297" y="339"/>
                    </a:lnTo>
                    <a:lnTo>
                      <a:pt x="345" y="34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7" name="Freeform 30"/>
              <p:cNvSpPr>
                <a:spLocks/>
              </p:cNvSpPr>
              <p:nvPr/>
            </p:nvSpPr>
            <p:spPr bwMode="auto">
              <a:xfrm>
                <a:off x="1909" y="2089"/>
                <a:ext cx="474" cy="380"/>
              </a:xfrm>
              <a:custGeom>
                <a:avLst/>
                <a:gdLst>
                  <a:gd name="T0" fmla="*/ 0 w 1314"/>
                  <a:gd name="T1" fmla="*/ 0 h 1029"/>
                  <a:gd name="T2" fmla="*/ 0 w 1314"/>
                  <a:gd name="T3" fmla="*/ 0 h 1029"/>
                  <a:gd name="T4" fmla="*/ 0 w 1314"/>
                  <a:gd name="T5" fmla="*/ 0 h 1029"/>
                  <a:gd name="T6" fmla="*/ 0 w 1314"/>
                  <a:gd name="T7" fmla="*/ 0 h 1029"/>
                  <a:gd name="T8" fmla="*/ 0 w 1314"/>
                  <a:gd name="T9" fmla="*/ 0 h 1029"/>
                  <a:gd name="T10" fmla="*/ 0 w 1314"/>
                  <a:gd name="T11" fmla="*/ 0 h 1029"/>
                  <a:gd name="T12" fmla="*/ 0 w 1314"/>
                  <a:gd name="T13" fmla="*/ 0 h 1029"/>
                  <a:gd name="T14" fmla="*/ 0 w 1314"/>
                  <a:gd name="T15" fmla="*/ 0 h 1029"/>
                  <a:gd name="T16" fmla="*/ 0 w 1314"/>
                  <a:gd name="T17" fmla="*/ 0 h 1029"/>
                  <a:gd name="T18" fmla="*/ 0 w 1314"/>
                  <a:gd name="T19" fmla="*/ 0 h 1029"/>
                  <a:gd name="T20" fmla="*/ 0 w 1314"/>
                  <a:gd name="T21" fmla="*/ 0 h 1029"/>
                  <a:gd name="T22" fmla="*/ 0 w 1314"/>
                  <a:gd name="T23" fmla="*/ 0 h 1029"/>
                  <a:gd name="T24" fmla="*/ 0 w 1314"/>
                  <a:gd name="T25" fmla="*/ 0 h 1029"/>
                  <a:gd name="T26" fmla="*/ 0 w 1314"/>
                  <a:gd name="T27" fmla="*/ 0 h 1029"/>
                  <a:gd name="T28" fmla="*/ 0 w 1314"/>
                  <a:gd name="T29" fmla="*/ 0 h 1029"/>
                  <a:gd name="T30" fmla="*/ 0 w 1314"/>
                  <a:gd name="T31" fmla="*/ 0 h 1029"/>
                  <a:gd name="T32" fmla="*/ 0 w 1314"/>
                  <a:gd name="T33" fmla="*/ 0 h 1029"/>
                  <a:gd name="T34" fmla="*/ 0 w 1314"/>
                  <a:gd name="T35" fmla="*/ 0 h 1029"/>
                  <a:gd name="T36" fmla="*/ 0 w 1314"/>
                  <a:gd name="T37" fmla="*/ 0 h 1029"/>
                  <a:gd name="T38" fmla="*/ 0 w 1314"/>
                  <a:gd name="T39" fmla="*/ 0 h 1029"/>
                  <a:gd name="T40" fmla="*/ 0 w 1314"/>
                  <a:gd name="T41" fmla="*/ 0 h 1029"/>
                  <a:gd name="T42" fmla="*/ 0 w 1314"/>
                  <a:gd name="T43" fmla="*/ 0 h 1029"/>
                  <a:gd name="T44" fmla="*/ 0 w 1314"/>
                  <a:gd name="T45" fmla="*/ 0 h 1029"/>
                  <a:gd name="T46" fmla="*/ 0 w 1314"/>
                  <a:gd name="T47" fmla="*/ 0 h 1029"/>
                  <a:gd name="T48" fmla="*/ 0 w 1314"/>
                  <a:gd name="T49" fmla="*/ 0 h 1029"/>
                  <a:gd name="T50" fmla="*/ 0 w 1314"/>
                  <a:gd name="T51" fmla="*/ 0 h 1029"/>
                  <a:gd name="T52" fmla="*/ 0 w 1314"/>
                  <a:gd name="T53" fmla="*/ 0 h 1029"/>
                  <a:gd name="T54" fmla="*/ 0 w 1314"/>
                  <a:gd name="T55" fmla="*/ 0 h 1029"/>
                  <a:gd name="T56" fmla="*/ 0 w 1314"/>
                  <a:gd name="T57" fmla="*/ 0 h 1029"/>
                  <a:gd name="T58" fmla="*/ 0 w 1314"/>
                  <a:gd name="T59" fmla="*/ 0 h 1029"/>
                  <a:gd name="T60" fmla="*/ 0 w 1314"/>
                  <a:gd name="T61" fmla="*/ 0 h 1029"/>
                  <a:gd name="T62" fmla="*/ 0 w 1314"/>
                  <a:gd name="T63" fmla="*/ 0 h 10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14"/>
                  <a:gd name="T97" fmla="*/ 0 h 1029"/>
                  <a:gd name="T98" fmla="*/ 1314 w 1314"/>
                  <a:gd name="T99" fmla="*/ 1029 h 10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14" h="1029">
                    <a:moveTo>
                      <a:pt x="1128" y="1029"/>
                    </a:moveTo>
                    <a:lnTo>
                      <a:pt x="1191" y="939"/>
                    </a:lnTo>
                    <a:lnTo>
                      <a:pt x="1224" y="888"/>
                    </a:lnTo>
                    <a:lnTo>
                      <a:pt x="1233" y="840"/>
                    </a:lnTo>
                    <a:lnTo>
                      <a:pt x="1230" y="729"/>
                    </a:lnTo>
                    <a:lnTo>
                      <a:pt x="1254" y="630"/>
                    </a:lnTo>
                    <a:lnTo>
                      <a:pt x="1278" y="549"/>
                    </a:lnTo>
                    <a:lnTo>
                      <a:pt x="1314" y="543"/>
                    </a:lnTo>
                    <a:lnTo>
                      <a:pt x="1278" y="468"/>
                    </a:lnTo>
                    <a:lnTo>
                      <a:pt x="1203" y="390"/>
                    </a:lnTo>
                    <a:lnTo>
                      <a:pt x="1167" y="369"/>
                    </a:lnTo>
                    <a:lnTo>
                      <a:pt x="1161" y="312"/>
                    </a:lnTo>
                    <a:lnTo>
                      <a:pt x="1137" y="246"/>
                    </a:lnTo>
                    <a:lnTo>
                      <a:pt x="1026" y="213"/>
                    </a:lnTo>
                    <a:lnTo>
                      <a:pt x="843" y="231"/>
                    </a:lnTo>
                    <a:lnTo>
                      <a:pt x="657" y="273"/>
                    </a:lnTo>
                    <a:lnTo>
                      <a:pt x="546" y="297"/>
                    </a:lnTo>
                    <a:lnTo>
                      <a:pt x="471" y="276"/>
                    </a:lnTo>
                    <a:lnTo>
                      <a:pt x="390" y="270"/>
                    </a:lnTo>
                    <a:lnTo>
                      <a:pt x="300" y="198"/>
                    </a:lnTo>
                    <a:lnTo>
                      <a:pt x="249" y="120"/>
                    </a:lnTo>
                    <a:lnTo>
                      <a:pt x="216" y="24"/>
                    </a:lnTo>
                    <a:lnTo>
                      <a:pt x="183" y="6"/>
                    </a:lnTo>
                    <a:lnTo>
                      <a:pt x="144" y="0"/>
                    </a:lnTo>
                    <a:lnTo>
                      <a:pt x="150" y="54"/>
                    </a:lnTo>
                    <a:lnTo>
                      <a:pt x="84" y="114"/>
                    </a:lnTo>
                    <a:lnTo>
                      <a:pt x="33" y="219"/>
                    </a:lnTo>
                    <a:lnTo>
                      <a:pt x="15" y="279"/>
                    </a:lnTo>
                    <a:lnTo>
                      <a:pt x="30" y="333"/>
                    </a:lnTo>
                    <a:lnTo>
                      <a:pt x="18" y="408"/>
                    </a:lnTo>
                    <a:lnTo>
                      <a:pt x="21" y="438"/>
                    </a:lnTo>
                    <a:lnTo>
                      <a:pt x="48" y="438"/>
                    </a:lnTo>
                    <a:lnTo>
                      <a:pt x="57" y="531"/>
                    </a:lnTo>
                    <a:lnTo>
                      <a:pt x="0" y="597"/>
                    </a:lnTo>
                    <a:lnTo>
                      <a:pt x="135" y="603"/>
                    </a:lnTo>
                    <a:lnTo>
                      <a:pt x="57" y="687"/>
                    </a:lnTo>
                    <a:lnTo>
                      <a:pt x="96" y="729"/>
                    </a:lnTo>
                    <a:lnTo>
                      <a:pt x="174" y="720"/>
                    </a:lnTo>
                    <a:lnTo>
                      <a:pt x="291" y="738"/>
                    </a:lnTo>
                    <a:lnTo>
                      <a:pt x="312" y="687"/>
                    </a:lnTo>
                    <a:lnTo>
                      <a:pt x="357" y="678"/>
                    </a:lnTo>
                    <a:lnTo>
                      <a:pt x="363" y="627"/>
                    </a:lnTo>
                    <a:lnTo>
                      <a:pt x="399" y="615"/>
                    </a:lnTo>
                    <a:lnTo>
                      <a:pt x="423" y="639"/>
                    </a:lnTo>
                    <a:lnTo>
                      <a:pt x="441" y="636"/>
                    </a:lnTo>
                    <a:lnTo>
                      <a:pt x="447" y="597"/>
                    </a:lnTo>
                    <a:lnTo>
                      <a:pt x="486" y="600"/>
                    </a:lnTo>
                    <a:lnTo>
                      <a:pt x="507" y="624"/>
                    </a:lnTo>
                    <a:lnTo>
                      <a:pt x="567" y="603"/>
                    </a:lnTo>
                    <a:lnTo>
                      <a:pt x="564" y="564"/>
                    </a:lnTo>
                    <a:lnTo>
                      <a:pt x="612" y="531"/>
                    </a:lnTo>
                    <a:lnTo>
                      <a:pt x="633" y="588"/>
                    </a:lnTo>
                    <a:lnTo>
                      <a:pt x="675" y="606"/>
                    </a:lnTo>
                    <a:lnTo>
                      <a:pt x="750" y="627"/>
                    </a:lnTo>
                    <a:lnTo>
                      <a:pt x="819" y="681"/>
                    </a:lnTo>
                    <a:lnTo>
                      <a:pt x="849" y="717"/>
                    </a:lnTo>
                    <a:lnTo>
                      <a:pt x="825" y="750"/>
                    </a:lnTo>
                    <a:lnTo>
                      <a:pt x="744" y="792"/>
                    </a:lnTo>
                    <a:lnTo>
                      <a:pt x="741" y="825"/>
                    </a:lnTo>
                    <a:lnTo>
                      <a:pt x="858" y="921"/>
                    </a:lnTo>
                    <a:lnTo>
                      <a:pt x="891" y="894"/>
                    </a:lnTo>
                    <a:lnTo>
                      <a:pt x="939" y="912"/>
                    </a:lnTo>
                    <a:lnTo>
                      <a:pt x="1041" y="957"/>
                    </a:lnTo>
                    <a:lnTo>
                      <a:pt x="1050" y="1008"/>
                    </a:lnTo>
                    <a:lnTo>
                      <a:pt x="1128" y="1029"/>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8" name="Freeform 31"/>
              <p:cNvSpPr>
                <a:spLocks/>
              </p:cNvSpPr>
              <p:nvPr/>
            </p:nvSpPr>
            <p:spPr bwMode="auto">
              <a:xfrm>
                <a:off x="1864" y="2287"/>
                <a:ext cx="453" cy="436"/>
              </a:xfrm>
              <a:custGeom>
                <a:avLst/>
                <a:gdLst>
                  <a:gd name="T0" fmla="*/ 0 w 1257"/>
                  <a:gd name="T1" fmla="*/ 0 h 1179"/>
                  <a:gd name="T2" fmla="*/ 0 w 1257"/>
                  <a:gd name="T3" fmla="*/ 0 h 1179"/>
                  <a:gd name="T4" fmla="*/ 0 w 1257"/>
                  <a:gd name="T5" fmla="*/ 0 h 1179"/>
                  <a:gd name="T6" fmla="*/ 0 w 1257"/>
                  <a:gd name="T7" fmla="*/ 0 h 1179"/>
                  <a:gd name="T8" fmla="*/ 0 w 1257"/>
                  <a:gd name="T9" fmla="*/ 0 h 1179"/>
                  <a:gd name="T10" fmla="*/ 0 w 1257"/>
                  <a:gd name="T11" fmla="*/ 0 h 1179"/>
                  <a:gd name="T12" fmla="*/ 0 w 1257"/>
                  <a:gd name="T13" fmla="*/ 0 h 1179"/>
                  <a:gd name="T14" fmla="*/ 0 w 1257"/>
                  <a:gd name="T15" fmla="*/ 0 h 1179"/>
                  <a:gd name="T16" fmla="*/ 0 w 1257"/>
                  <a:gd name="T17" fmla="*/ 0 h 1179"/>
                  <a:gd name="T18" fmla="*/ 0 w 1257"/>
                  <a:gd name="T19" fmla="*/ 0 h 1179"/>
                  <a:gd name="T20" fmla="*/ 0 w 1257"/>
                  <a:gd name="T21" fmla="*/ 0 h 1179"/>
                  <a:gd name="T22" fmla="*/ 0 w 1257"/>
                  <a:gd name="T23" fmla="*/ 0 h 1179"/>
                  <a:gd name="T24" fmla="*/ 0 w 1257"/>
                  <a:gd name="T25" fmla="*/ 0 h 1179"/>
                  <a:gd name="T26" fmla="*/ 0 w 1257"/>
                  <a:gd name="T27" fmla="*/ 0 h 1179"/>
                  <a:gd name="T28" fmla="*/ 0 w 1257"/>
                  <a:gd name="T29" fmla="*/ 0 h 1179"/>
                  <a:gd name="T30" fmla="*/ 0 w 1257"/>
                  <a:gd name="T31" fmla="*/ 0 h 1179"/>
                  <a:gd name="T32" fmla="*/ 0 w 1257"/>
                  <a:gd name="T33" fmla="*/ 0 h 1179"/>
                  <a:gd name="T34" fmla="*/ 0 w 1257"/>
                  <a:gd name="T35" fmla="*/ 0 h 1179"/>
                  <a:gd name="T36" fmla="*/ 0 w 1257"/>
                  <a:gd name="T37" fmla="*/ 0 h 1179"/>
                  <a:gd name="T38" fmla="*/ 0 w 1257"/>
                  <a:gd name="T39" fmla="*/ 0 h 1179"/>
                  <a:gd name="T40" fmla="*/ 0 w 1257"/>
                  <a:gd name="T41" fmla="*/ 0 h 1179"/>
                  <a:gd name="T42" fmla="*/ 0 w 1257"/>
                  <a:gd name="T43" fmla="*/ 0 h 1179"/>
                  <a:gd name="T44" fmla="*/ 0 w 1257"/>
                  <a:gd name="T45" fmla="*/ 0 h 1179"/>
                  <a:gd name="T46" fmla="*/ 0 w 1257"/>
                  <a:gd name="T47" fmla="*/ 0 h 1179"/>
                  <a:gd name="T48" fmla="*/ 0 w 1257"/>
                  <a:gd name="T49" fmla="*/ 0 h 1179"/>
                  <a:gd name="T50" fmla="*/ 0 w 1257"/>
                  <a:gd name="T51" fmla="*/ 0 h 1179"/>
                  <a:gd name="T52" fmla="*/ 0 w 1257"/>
                  <a:gd name="T53" fmla="*/ 0 h 1179"/>
                  <a:gd name="T54" fmla="*/ 0 w 1257"/>
                  <a:gd name="T55" fmla="*/ 0 h 1179"/>
                  <a:gd name="T56" fmla="*/ 0 w 1257"/>
                  <a:gd name="T57" fmla="*/ 0 h 1179"/>
                  <a:gd name="T58" fmla="*/ 0 w 1257"/>
                  <a:gd name="T59" fmla="*/ 0 h 1179"/>
                  <a:gd name="T60" fmla="*/ 0 w 1257"/>
                  <a:gd name="T61" fmla="*/ 0 h 1179"/>
                  <a:gd name="T62" fmla="*/ 0 w 1257"/>
                  <a:gd name="T63" fmla="*/ 0 h 1179"/>
                  <a:gd name="T64" fmla="*/ 0 w 1257"/>
                  <a:gd name="T65" fmla="*/ 0 h 1179"/>
                  <a:gd name="T66" fmla="*/ 0 w 1257"/>
                  <a:gd name="T67" fmla="*/ 0 h 1179"/>
                  <a:gd name="T68" fmla="*/ 0 w 1257"/>
                  <a:gd name="T69" fmla="*/ 0 h 1179"/>
                  <a:gd name="T70" fmla="*/ 0 w 1257"/>
                  <a:gd name="T71" fmla="*/ 0 h 1179"/>
                  <a:gd name="T72" fmla="*/ 0 w 1257"/>
                  <a:gd name="T73" fmla="*/ 0 h 1179"/>
                  <a:gd name="T74" fmla="*/ 0 w 1257"/>
                  <a:gd name="T75" fmla="*/ 0 h 1179"/>
                  <a:gd name="T76" fmla="*/ 0 w 1257"/>
                  <a:gd name="T77" fmla="*/ 0 h 1179"/>
                  <a:gd name="T78" fmla="*/ 0 w 1257"/>
                  <a:gd name="T79" fmla="*/ 0 h 1179"/>
                  <a:gd name="T80" fmla="*/ 0 w 1257"/>
                  <a:gd name="T81" fmla="*/ 0 h 1179"/>
                  <a:gd name="T82" fmla="*/ 0 w 1257"/>
                  <a:gd name="T83" fmla="*/ 0 h 1179"/>
                  <a:gd name="T84" fmla="*/ 0 w 1257"/>
                  <a:gd name="T85" fmla="*/ 0 h 1179"/>
                  <a:gd name="T86" fmla="*/ 0 w 1257"/>
                  <a:gd name="T87" fmla="*/ 0 h 1179"/>
                  <a:gd name="T88" fmla="*/ 0 w 1257"/>
                  <a:gd name="T89" fmla="*/ 0 h 1179"/>
                  <a:gd name="T90" fmla="*/ 0 w 1257"/>
                  <a:gd name="T91" fmla="*/ 0 h 1179"/>
                  <a:gd name="T92" fmla="*/ 0 w 1257"/>
                  <a:gd name="T93" fmla="*/ 0 h 1179"/>
                  <a:gd name="T94" fmla="*/ 0 w 1257"/>
                  <a:gd name="T95" fmla="*/ 0 h 1179"/>
                  <a:gd name="T96" fmla="*/ 0 w 1257"/>
                  <a:gd name="T97" fmla="*/ 0 h 1179"/>
                  <a:gd name="T98" fmla="*/ 0 w 1257"/>
                  <a:gd name="T99" fmla="*/ 0 h 1179"/>
                  <a:gd name="T100" fmla="*/ 0 w 1257"/>
                  <a:gd name="T101" fmla="*/ 0 h 1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57"/>
                  <a:gd name="T154" fmla="*/ 0 h 1179"/>
                  <a:gd name="T155" fmla="*/ 1257 w 1257"/>
                  <a:gd name="T156" fmla="*/ 1179 h 1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57" h="1179">
                    <a:moveTo>
                      <a:pt x="1035" y="1014"/>
                    </a:moveTo>
                    <a:lnTo>
                      <a:pt x="1041" y="948"/>
                    </a:lnTo>
                    <a:lnTo>
                      <a:pt x="1062" y="927"/>
                    </a:lnTo>
                    <a:lnTo>
                      <a:pt x="1071" y="879"/>
                    </a:lnTo>
                    <a:lnTo>
                      <a:pt x="1056" y="831"/>
                    </a:lnTo>
                    <a:lnTo>
                      <a:pt x="1059" y="786"/>
                    </a:lnTo>
                    <a:lnTo>
                      <a:pt x="1077" y="726"/>
                    </a:lnTo>
                    <a:lnTo>
                      <a:pt x="1125" y="681"/>
                    </a:lnTo>
                    <a:lnTo>
                      <a:pt x="1161" y="669"/>
                    </a:lnTo>
                    <a:lnTo>
                      <a:pt x="1194" y="615"/>
                    </a:lnTo>
                    <a:lnTo>
                      <a:pt x="1200" y="582"/>
                    </a:lnTo>
                    <a:lnTo>
                      <a:pt x="1257" y="498"/>
                    </a:lnTo>
                    <a:lnTo>
                      <a:pt x="1176" y="471"/>
                    </a:lnTo>
                    <a:lnTo>
                      <a:pt x="1167" y="426"/>
                    </a:lnTo>
                    <a:lnTo>
                      <a:pt x="1017" y="360"/>
                    </a:lnTo>
                    <a:lnTo>
                      <a:pt x="987" y="384"/>
                    </a:lnTo>
                    <a:lnTo>
                      <a:pt x="873" y="297"/>
                    </a:lnTo>
                    <a:lnTo>
                      <a:pt x="870" y="258"/>
                    </a:lnTo>
                    <a:lnTo>
                      <a:pt x="942" y="219"/>
                    </a:lnTo>
                    <a:lnTo>
                      <a:pt x="975" y="180"/>
                    </a:lnTo>
                    <a:lnTo>
                      <a:pt x="879" y="90"/>
                    </a:lnTo>
                    <a:lnTo>
                      <a:pt x="816" y="78"/>
                    </a:lnTo>
                    <a:lnTo>
                      <a:pt x="756" y="48"/>
                    </a:lnTo>
                    <a:lnTo>
                      <a:pt x="738" y="0"/>
                    </a:lnTo>
                    <a:lnTo>
                      <a:pt x="693" y="24"/>
                    </a:lnTo>
                    <a:lnTo>
                      <a:pt x="690" y="63"/>
                    </a:lnTo>
                    <a:lnTo>
                      <a:pt x="633" y="93"/>
                    </a:lnTo>
                    <a:lnTo>
                      <a:pt x="615" y="66"/>
                    </a:lnTo>
                    <a:lnTo>
                      <a:pt x="570" y="66"/>
                    </a:lnTo>
                    <a:lnTo>
                      <a:pt x="564" y="102"/>
                    </a:lnTo>
                    <a:lnTo>
                      <a:pt x="546" y="105"/>
                    </a:lnTo>
                    <a:lnTo>
                      <a:pt x="525" y="84"/>
                    </a:lnTo>
                    <a:lnTo>
                      <a:pt x="486" y="96"/>
                    </a:lnTo>
                    <a:lnTo>
                      <a:pt x="483" y="141"/>
                    </a:lnTo>
                    <a:lnTo>
                      <a:pt x="435" y="156"/>
                    </a:lnTo>
                    <a:lnTo>
                      <a:pt x="414" y="201"/>
                    </a:lnTo>
                    <a:lnTo>
                      <a:pt x="300" y="186"/>
                    </a:lnTo>
                    <a:lnTo>
                      <a:pt x="216" y="192"/>
                    </a:lnTo>
                    <a:lnTo>
                      <a:pt x="183" y="150"/>
                    </a:lnTo>
                    <a:lnTo>
                      <a:pt x="117" y="156"/>
                    </a:lnTo>
                    <a:lnTo>
                      <a:pt x="75" y="180"/>
                    </a:lnTo>
                    <a:lnTo>
                      <a:pt x="129" y="234"/>
                    </a:lnTo>
                    <a:lnTo>
                      <a:pt x="135" y="276"/>
                    </a:lnTo>
                    <a:lnTo>
                      <a:pt x="108" y="300"/>
                    </a:lnTo>
                    <a:lnTo>
                      <a:pt x="75" y="279"/>
                    </a:lnTo>
                    <a:lnTo>
                      <a:pt x="6" y="321"/>
                    </a:lnTo>
                    <a:lnTo>
                      <a:pt x="0" y="369"/>
                    </a:lnTo>
                    <a:lnTo>
                      <a:pt x="15" y="405"/>
                    </a:lnTo>
                    <a:lnTo>
                      <a:pt x="72" y="411"/>
                    </a:lnTo>
                    <a:lnTo>
                      <a:pt x="87" y="393"/>
                    </a:lnTo>
                    <a:lnTo>
                      <a:pt x="135" y="426"/>
                    </a:lnTo>
                    <a:lnTo>
                      <a:pt x="216" y="435"/>
                    </a:lnTo>
                    <a:lnTo>
                      <a:pt x="192" y="540"/>
                    </a:lnTo>
                    <a:lnTo>
                      <a:pt x="246" y="504"/>
                    </a:lnTo>
                    <a:lnTo>
                      <a:pt x="309" y="519"/>
                    </a:lnTo>
                    <a:lnTo>
                      <a:pt x="363" y="561"/>
                    </a:lnTo>
                    <a:lnTo>
                      <a:pt x="426" y="561"/>
                    </a:lnTo>
                    <a:lnTo>
                      <a:pt x="426" y="540"/>
                    </a:lnTo>
                    <a:lnTo>
                      <a:pt x="459" y="537"/>
                    </a:lnTo>
                    <a:lnTo>
                      <a:pt x="504" y="522"/>
                    </a:lnTo>
                    <a:lnTo>
                      <a:pt x="549" y="546"/>
                    </a:lnTo>
                    <a:lnTo>
                      <a:pt x="549" y="585"/>
                    </a:lnTo>
                    <a:lnTo>
                      <a:pt x="618" y="576"/>
                    </a:lnTo>
                    <a:lnTo>
                      <a:pt x="633" y="630"/>
                    </a:lnTo>
                    <a:lnTo>
                      <a:pt x="603" y="633"/>
                    </a:lnTo>
                    <a:lnTo>
                      <a:pt x="564" y="696"/>
                    </a:lnTo>
                    <a:lnTo>
                      <a:pt x="540" y="756"/>
                    </a:lnTo>
                    <a:lnTo>
                      <a:pt x="591" y="789"/>
                    </a:lnTo>
                    <a:lnTo>
                      <a:pt x="570" y="828"/>
                    </a:lnTo>
                    <a:lnTo>
                      <a:pt x="525" y="822"/>
                    </a:lnTo>
                    <a:lnTo>
                      <a:pt x="504" y="807"/>
                    </a:lnTo>
                    <a:lnTo>
                      <a:pt x="504" y="774"/>
                    </a:lnTo>
                    <a:lnTo>
                      <a:pt x="465" y="771"/>
                    </a:lnTo>
                    <a:lnTo>
                      <a:pt x="447" y="819"/>
                    </a:lnTo>
                    <a:lnTo>
                      <a:pt x="342" y="831"/>
                    </a:lnTo>
                    <a:lnTo>
                      <a:pt x="345" y="858"/>
                    </a:lnTo>
                    <a:lnTo>
                      <a:pt x="390" y="879"/>
                    </a:lnTo>
                    <a:lnTo>
                      <a:pt x="402" y="945"/>
                    </a:lnTo>
                    <a:lnTo>
                      <a:pt x="495" y="960"/>
                    </a:lnTo>
                    <a:lnTo>
                      <a:pt x="534" y="897"/>
                    </a:lnTo>
                    <a:lnTo>
                      <a:pt x="666" y="918"/>
                    </a:lnTo>
                    <a:lnTo>
                      <a:pt x="666" y="1011"/>
                    </a:lnTo>
                    <a:lnTo>
                      <a:pt x="633" y="1005"/>
                    </a:lnTo>
                    <a:lnTo>
                      <a:pt x="600" y="1029"/>
                    </a:lnTo>
                    <a:lnTo>
                      <a:pt x="612" y="1071"/>
                    </a:lnTo>
                    <a:lnTo>
                      <a:pt x="675" y="1179"/>
                    </a:lnTo>
                    <a:lnTo>
                      <a:pt x="744" y="1155"/>
                    </a:lnTo>
                    <a:lnTo>
                      <a:pt x="768" y="1098"/>
                    </a:lnTo>
                    <a:lnTo>
                      <a:pt x="738" y="1017"/>
                    </a:lnTo>
                    <a:lnTo>
                      <a:pt x="714" y="963"/>
                    </a:lnTo>
                    <a:lnTo>
                      <a:pt x="708" y="903"/>
                    </a:lnTo>
                    <a:lnTo>
                      <a:pt x="768" y="780"/>
                    </a:lnTo>
                    <a:lnTo>
                      <a:pt x="813" y="747"/>
                    </a:lnTo>
                    <a:lnTo>
                      <a:pt x="873" y="744"/>
                    </a:lnTo>
                    <a:lnTo>
                      <a:pt x="921" y="762"/>
                    </a:lnTo>
                    <a:lnTo>
                      <a:pt x="963" y="804"/>
                    </a:lnTo>
                    <a:lnTo>
                      <a:pt x="936" y="849"/>
                    </a:lnTo>
                    <a:lnTo>
                      <a:pt x="912" y="870"/>
                    </a:lnTo>
                    <a:lnTo>
                      <a:pt x="885" y="843"/>
                    </a:lnTo>
                    <a:lnTo>
                      <a:pt x="864" y="858"/>
                    </a:lnTo>
                    <a:lnTo>
                      <a:pt x="900" y="942"/>
                    </a:lnTo>
                    <a:lnTo>
                      <a:pt x="972" y="1011"/>
                    </a:lnTo>
                    <a:lnTo>
                      <a:pt x="1035" y="101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9" name="Freeform 32"/>
              <p:cNvSpPr>
                <a:spLocks/>
              </p:cNvSpPr>
              <p:nvPr/>
            </p:nvSpPr>
            <p:spPr bwMode="auto">
              <a:xfrm>
                <a:off x="1737" y="2431"/>
                <a:ext cx="279" cy="425"/>
              </a:xfrm>
              <a:custGeom>
                <a:avLst/>
                <a:gdLst>
                  <a:gd name="T0" fmla="*/ 0 w 774"/>
                  <a:gd name="T1" fmla="*/ 0 h 1149"/>
                  <a:gd name="T2" fmla="*/ 0 w 774"/>
                  <a:gd name="T3" fmla="*/ 0 h 1149"/>
                  <a:gd name="T4" fmla="*/ 0 w 774"/>
                  <a:gd name="T5" fmla="*/ 0 h 1149"/>
                  <a:gd name="T6" fmla="*/ 0 w 774"/>
                  <a:gd name="T7" fmla="*/ 0 h 1149"/>
                  <a:gd name="T8" fmla="*/ 0 w 774"/>
                  <a:gd name="T9" fmla="*/ 0 h 1149"/>
                  <a:gd name="T10" fmla="*/ 0 w 774"/>
                  <a:gd name="T11" fmla="*/ 0 h 1149"/>
                  <a:gd name="T12" fmla="*/ 0 w 774"/>
                  <a:gd name="T13" fmla="*/ 0 h 1149"/>
                  <a:gd name="T14" fmla="*/ 0 w 774"/>
                  <a:gd name="T15" fmla="*/ 0 h 1149"/>
                  <a:gd name="T16" fmla="*/ 0 w 774"/>
                  <a:gd name="T17" fmla="*/ 0 h 1149"/>
                  <a:gd name="T18" fmla="*/ 0 w 774"/>
                  <a:gd name="T19" fmla="*/ 0 h 1149"/>
                  <a:gd name="T20" fmla="*/ 0 w 774"/>
                  <a:gd name="T21" fmla="*/ 0 h 1149"/>
                  <a:gd name="T22" fmla="*/ 0 w 774"/>
                  <a:gd name="T23" fmla="*/ 0 h 1149"/>
                  <a:gd name="T24" fmla="*/ 0 w 774"/>
                  <a:gd name="T25" fmla="*/ 0 h 1149"/>
                  <a:gd name="T26" fmla="*/ 0 w 774"/>
                  <a:gd name="T27" fmla="*/ 0 h 1149"/>
                  <a:gd name="T28" fmla="*/ 0 w 774"/>
                  <a:gd name="T29" fmla="*/ 0 h 1149"/>
                  <a:gd name="T30" fmla="*/ 0 w 774"/>
                  <a:gd name="T31" fmla="*/ 0 h 1149"/>
                  <a:gd name="T32" fmla="*/ 0 w 774"/>
                  <a:gd name="T33" fmla="*/ 0 h 1149"/>
                  <a:gd name="T34" fmla="*/ 0 w 774"/>
                  <a:gd name="T35" fmla="*/ 0 h 1149"/>
                  <a:gd name="T36" fmla="*/ 0 w 774"/>
                  <a:gd name="T37" fmla="*/ 0 h 1149"/>
                  <a:gd name="T38" fmla="*/ 0 w 774"/>
                  <a:gd name="T39" fmla="*/ 0 h 1149"/>
                  <a:gd name="T40" fmla="*/ 0 w 774"/>
                  <a:gd name="T41" fmla="*/ 0 h 1149"/>
                  <a:gd name="T42" fmla="*/ 0 w 774"/>
                  <a:gd name="T43" fmla="*/ 0 h 1149"/>
                  <a:gd name="T44" fmla="*/ 0 w 774"/>
                  <a:gd name="T45" fmla="*/ 0 h 1149"/>
                  <a:gd name="T46" fmla="*/ 0 w 774"/>
                  <a:gd name="T47" fmla="*/ 0 h 1149"/>
                  <a:gd name="T48" fmla="*/ 0 w 774"/>
                  <a:gd name="T49" fmla="*/ 0 h 1149"/>
                  <a:gd name="T50" fmla="*/ 0 w 774"/>
                  <a:gd name="T51" fmla="*/ 0 h 1149"/>
                  <a:gd name="T52" fmla="*/ 0 w 774"/>
                  <a:gd name="T53" fmla="*/ 0 h 1149"/>
                  <a:gd name="T54" fmla="*/ 0 w 774"/>
                  <a:gd name="T55" fmla="*/ 0 h 1149"/>
                  <a:gd name="T56" fmla="*/ 0 w 774"/>
                  <a:gd name="T57" fmla="*/ 0 h 1149"/>
                  <a:gd name="T58" fmla="*/ 0 w 774"/>
                  <a:gd name="T59" fmla="*/ 0 h 1149"/>
                  <a:gd name="T60" fmla="*/ 0 w 774"/>
                  <a:gd name="T61" fmla="*/ 0 h 1149"/>
                  <a:gd name="T62" fmla="*/ 0 w 774"/>
                  <a:gd name="T63" fmla="*/ 0 h 1149"/>
                  <a:gd name="T64" fmla="*/ 0 w 774"/>
                  <a:gd name="T65" fmla="*/ 0 h 1149"/>
                  <a:gd name="T66" fmla="*/ 0 w 774"/>
                  <a:gd name="T67" fmla="*/ 0 h 1149"/>
                  <a:gd name="T68" fmla="*/ 0 w 774"/>
                  <a:gd name="T69" fmla="*/ 0 h 1149"/>
                  <a:gd name="T70" fmla="*/ 0 w 774"/>
                  <a:gd name="T71" fmla="*/ 0 h 1149"/>
                  <a:gd name="T72" fmla="*/ 0 w 774"/>
                  <a:gd name="T73" fmla="*/ 0 h 1149"/>
                  <a:gd name="T74" fmla="*/ 0 w 774"/>
                  <a:gd name="T75" fmla="*/ 0 h 1149"/>
                  <a:gd name="T76" fmla="*/ 0 w 774"/>
                  <a:gd name="T77" fmla="*/ 0 h 1149"/>
                  <a:gd name="T78" fmla="*/ 0 w 774"/>
                  <a:gd name="T79" fmla="*/ 0 h 1149"/>
                  <a:gd name="T80" fmla="*/ 0 w 774"/>
                  <a:gd name="T81" fmla="*/ 0 h 1149"/>
                  <a:gd name="T82" fmla="*/ 0 w 774"/>
                  <a:gd name="T83" fmla="*/ 0 h 1149"/>
                  <a:gd name="T84" fmla="*/ 0 w 774"/>
                  <a:gd name="T85" fmla="*/ 0 h 1149"/>
                  <a:gd name="T86" fmla="*/ 0 w 774"/>
                  <a:gd name="T87" fmla="*/ 0 h 1149"/>
                  <a:gd name="T88" fmla="*/ 0 w 774"/>
                  <a:gd name="T89" fmla="*/ 0 h 1149"/>
                  <a:gd name="T90" fmla="*/ 0 w 774"/>
                  <a:gd name="T91" fmla="*/ 0 h 1149"/>
                  <a:gd name="T92" fmla="*/ 0 w 774"/>
                  <a:gd name="T93" fmla="*/ 0 h 1149"/>
                  <a:gd name="T94" fmla="*/ 0 w 774"/>
                  <a:gd name="T95" fmla="*/ 0 h 1149"/>
                  <a:gd name="T96" fmla="*/ 0 w 774"/>
                  <a:gd name="T97" fmla="*/ 0 h 1149"/>
                  <a:gd name="T98" fmla="*/ 0 w 774"/>
                  <a:gd name="T99" fmla="*/ 0 h 1149"/>
                  <a:gd name="T100" fmla="*/ 0 w 774"/>
                  <a:gd name="T101" fmla="*/ 0 h 1149"/>
                  <a:gd name="T102" fmla="*/ 0 w 774"/>
                  <a:gd name="T103" fmla="*/ 0 h 1149"/>
                  <a:gd name="T104" fmla="*/ 0 w 774"/>
                  <a:gd name="T105" fmla="*/ 0 h 1149"/>
                  <a:gd name="T106" fmla="*/ 0 w 774"/>
                  <a:gd name="T107" fmla="*/ 0 h 1149"/>
                  <a:gd name="T108" fmla="*/ 0 w 774"/>
                  <a:gd name="T109" fmla="*/ 0 h 1149"/>
                  <a:gd name="T110" fmla="*/ 0 w 774"/>
                  <a:gd name="T111" fmla="*/ 0 h 1149"/>
                  <a:gd name="T112" fmla="*/ 0 w 774"/>
                  <a:gd name="T113" fmla="*/ 0 h 1149"/>
                  <a:gd name="T114" fmla="*/ 0 w 774"/>
                  <a:gd name="T115" fmla="*/ 0 h 1149"/>
                  <a:gd name="T116" fmla="*/ 0 w 774"/>
                  <a:gd name="T117" fmla="*/ 0 h 11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74"/>
                  <a:gd name="T178" fmla="*/ 0 h 1149"/>
                  <a:gd name="T179" fmla="*/ 774 w 774"/>
                  <a:gd name="T180" fmla="*/ 1149 h 11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74" h="1149">
                    <a:moveTo>
                      <a:pt x="579" y="1023"/>
                    </a:moveTo>
                    <a:lnTo>
                      <a:pt x="597" y="975"/>
                    </a:lnTo>
                    <a:lnTo>
                      <a:pt x="522" y="720"/>
                    </a:lnTo>
                    <a:lnTo>
                      <a:pt x="492" y="702"/>
                    </a:lnTo>
                    <a:lnTo>
                      <a:pt x="489" y="657"/>
                    </a:lnTo>
                    <a:lnTo>
                      <a:pt x="501" y="621"/>
                    </a:lnTo>
                    <a:lnTo>
                      <a:pt x="510" y="501"/>
                    </a:lnTo>
                    <a:lnTo>
                      <a:pt x="582" y="453"/>
                    </a:lnTo>
                    <a:lnTo>
                      <a:pt x="615" y="408"/>
                    </a:lnTo>
                    <a:lnTo>
                      <a:pt x="648" y="351"/>
                    </a:lnTo>
                    <a:lnTo>
                      <a:pt x="696" y="336"/>
                    </a:lnTo>
                    <a:lnTo>
                      <a:pt x="723" y="210"/>
                    </a:lnTo>
                    <a:lnTo>
                      <a:pt x="774" y="210"/>
                    </a:lnTo>
                    <a:lnTo>
                      <a:pt x="771" y="159"/>
                    </a:lnTo>
                    <a:lnTo>
                      <a:pt x="714" y="168"/>
                    </a:lnTo>
                    <a:lnTo>
                      <a:pt x="666" y="126"/>
                    </a:lnTo>
                    <a:lnTo>
                      <a:pt x="594" y="108"/>
                    </a:lnTo>
                    <a:lnTo>
                      <a:pt x="537" y="147"/>
                    </a:lnTo>
                    <a:lnTo>
                      <a:pt x="564" y="39"/>
                    </a:lnTo>
                    <a:lnTo>
                      <a:pt x="486" y="30"/>
                    </a:lnTo>
                    <a:lnTo>
                      <a:pt x="438" y="0"/>
                    </a:lnTo>
                    <a:lnTo>
                      <a:pt x="423" y="18"/>
                    </a:lnTo>
                    <a:lnTo>
                      <a:pt x="402" y="15"/>
                    </a:lnTo>
                    <a:lnTo>
                      <a:pt x="399" y="66"/>
                    </a:lnTo>
                    <a:lnTo>
                      <a:pt x="363" y="90"/>
                    </a:lnTo>
                    <a:lnTo>
                      <a:pt x="306" y="75"/>
                    </a:lnTo>
                    <a:lnTo>
                      <a:pt x="291" y="96"/>
                    </a:lnTo>
                    <a:lnTo>
                      <a:pt x="288" y="153"/>
                    </a:lnTo>
                    <a:lnTo>
                      <a:pt x="309" y="198"/>
                    </a:lnTo>
                    <a:lnTo>
                      <a:pt x="297" y="369"/>
                    </a:lnTo>
                    <a:lnTo>
                      <a:pt x="228" y="351"/>
                    </a:lnTo>
                    <a:lnTo>
                      <a:pt x="183" y="354"/>
                    </a:lnTo>
                    <a:lnTo>
                      <a:pt x="129" y="327"/>
                    </a:lnTo>
                    <a:lnTo>
                      <a:pt x="120" y="351"/>
                    </a:lnTo>
                    <a:lnTo>
                      <a:pt x="39" y="411"/>
                    </a:lnTo>
                    <a:lnTo>
                      <a:pt x="51" y="468"/>
                    </a:lnTo>
                    <a:lnTo>
                      <a:pt x="60" y="504"/>
                    </a:lnTo>
                    <a:lnTo>
                      <a:pt x="33" y="504"/>
                    </a:lnTo>
                    <a:lnTo>
                      <a:pt x="21" y="537"/>
                    </a:lnTo>
                    <a:lnTo>
                      <a:pt x="33" y="561"/>
                    </a:lnTo>
                    <a:lnTo>
                      <a:pt x="0" y="591"/>
                    </a:lnTo>
                    <a:lnTo>
                      <a:pt x="27" y="744"/>
                    </a:lnTo>
                    <a:lnTo>
                      <a:pt x="63" y="732"/>
                    </a:lnTo>
                    <a:lnTo>
                      <a:pt x="150" y="768"/>
                    </a:lnTo>
                    <a:lnTo>
                      <a:pt x="264" y="882"/>
                    </a:lnTo>
                    <a:lnTo>
                      <a:pt x="267" y="921"/>
                    </a:lnTo>
                    <a:lnTo>
                      <a:pt x="210" y="975"/>
                    </a:lnTo>
                    <a:lnTo>
                      <a:pt x="210" y="1050"/>
                    </a:lnTo>
                    <a:lnTo>
                      <a:pt x="180" y="1068"/>
                    </a:lnTo>
                    <a:lnTo>
                      <a:pt x="174" y="1149"/>
                    </a:lnTo>
                    <a:lnTo>
                      <a:pt x="249" y="1116"/>
                    </a:lnTo>
                    <a:lnTo>
                      <a:pt x="375" y="1113"/>
                    </a:lnTo>
                    <a:lnTo>
                      <a:pt x="384" y="1074"/>
                    </a:lnTo>
                    <a:lnTo>
                      <a:pt x="414" y="1059"/>
                    </a:lnTo>
                    <a:lnTo>
                      <a:pt x="465" y="1068"/>
                    </a:lnTo>
                    <a:lnTo>
                      <a:pt x="483" y="1098"/>
                    </a:lnTo>
                    <a:lnTo>
                      <a:pt x="516" y="1092"/>
                    </a:lnTo>
                    <a:lnTo>
                      <a:pt x="528" y="1032"/>
                    </a:lnTo>
                    <a:lnTo>
                      <a:pt x="579" y="102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0" name="Freeform 33"/>
              <p:cNvSpPr>
                <a:spLocks/>
              </p:cNvSpPr>
              <p:nvPr/>
            </p:nvSpPr>
            <p:spPr bwMode="auto">
              <a:xfrm>
                <a:off x="2119" y="2838"/>
                <a:ext cx="110" cy="300"/>
              </a:xfrm>
              <a:custGeom>
                <a:avLst/>
                <a:gdLst>
                  <a:gd name="T0" fmla="*/ 0 w 306"/>
                  <a:gd name="T1" fmla="*/ 0 h 810"/>
                  <a:gd name="T2" fmla="*/ 0 w 306"/>
                  <a:gd name="T3" fmla="*/ 0 h 810"/>
                  <a:gd name="T4" fmla="*/ 0 w 306"/>
                  <a:gd name="T5" fmla="*/ 0 h 810"/>
                  <a:gd name="T6" fmla="*/ 0 w 306"/>
                  <a:gd name="T7" fmla="*/ 0 h 810"/>
                  <a:gd name="T8" fmla="*/ 0 w 306"/>
                  <a:gd name="T9" fmla="*/ 0 h 810"/>
                  <a:gd name="T10" fmla="*/ 0 w 306"/>
                  <a:gd name="T11" fmla="*/ 0 h 810"/>
                  <a:gd name="T12" fmla="*/ 0 w 306"/>
                  <a:gd name="T13" fmla="*/ 0 h 810"/>
                  <a:gd name="T14" fmla="*/ 0 w 306"/>
                  <a:gd name="T15" fmla="*/ 0 h 810"/>
                  <a:gd name="T16" fmla="*/ 0 w 306"/>
                  <a:gd name="T17" fmla="*/ 0 h 810"/>
                  <a:gd name="T18" fmla="*/ 0 w 306"/>
                  <a:gd name="T19" fmla="*/ 0 h 810"/>
                  <a:gd name="T20" fmla="*/ 0 w 306"/>
                  <a:gd name="T21" fmla="*/ 0 h 810"/>
                  <a:gd name="T22" fmla="*/ 0 w 306"/>
                  <a:gd name="T23" fmla="*/ 0 h 810"/>
                  <a:gd name="T24" fmla="*/ 0 w 306"/>
                  <a:gd name="T25" fmla="*/ 0 h 810"/>
                  <a:gd name="T26" fmla="*/ 0 w 306"/>
                  <a:gd name="T27" fmla="*/ 0 h 810"/>
                  <a:gd name="T28" fmla="*/ 0 w 306"/>
                  <a:gd name="T29" fmla="*/ 0 h 810"/>
                  <a:gd name="T30" fmla="*/ 0 w 306"/>
                  <a:gd name="T31" fmla="*/ 0 h 810"/>
                  <a:gd name="T32" fmla="*/ 0 w 306"/>
                  <a:gd name="T33" fmla="*/ 0 h 810"/>
                  <a:gd name="T34" fmla="*/ 0 w 306"/>
                  <a:gd name="T35" fmla="*/ 0 h 810"/>
                  <a:gd name="T36" fmla="*/ 0 w 306"/>
                  <a:gd name="T37" fmla="*/ 0 h 810"/>
                  <a:gd name="T38" fmla="*/ 0 w 306"/>
                  <a:gd name="T39" fmla="*/ 0 h 810"/>
                  <a:gd name="T40" fmla="*/ 0 w 306"/>
                  <a:gd name="T41" fmla="*/ 0 h 810"/>
                  <a:gd name="T42" fmla="*/ 0 w 306"/>
                  <a:gd name="T43" fmla="*/ 0 h 810"/>
                  <a:gd name="T44" fmla="*/ 0 w 306"/>
                  <a:gd name="T45" fmla="*/ 0 h 810"/>
                  <a:gd name="T46" fmla="*/ 0 w 306"/>
                  <a:gd name="T47" fmla="*/ 0 h 810"/>
                  <a:gd name="T48" fmla="*/ 0 w 306"/>
                  <a:gd name="T49" fmla="*/ 0 h 810"/>
                  <a:gd name="T50" fmla="*/ 0 w 306"/>
                  <a:gd name="T51" fmla="*/ 0 h 810"/>
                  <a:gd name="T52" fmla="*/ 0 w 306"/>
                  <a:gd name="T53" fmla="*/ 0 h 810"/>
                  <a:gd name="T54" fmla="*/ 0 w 306"/>
                  <a:gd name="T55" fmla="*/ 0 h 810"/>
                  <a:gd name="T56" fmla="*/ 0 w 306"/>
                  <a:gd name="T57" fmla="*/ 0 h 810"/>
                  <a:gd name="T58" fmla="*/ 0 w 306"/>
                  <a:gd name="T59" fmla="*/ 0 h 810"/>
                  <a:gd name="T60" fmla="*/ 0 w 306"/>
                  <a:gd name="T61" fmla="*/ 0 h 810"/>
                  <a:gd name="T62" fmla="*/ 0 w 306"/>
                  <a:gd name="T63" fmla="*/ 0 h 810"/>
                  <a:gd name="T64" fmla="*/ 0 w 306"/>
                  <a:gd name="T65" fmla="*/ 0 h 810"/>
                  <a:gd name="T66" fmla="*/ 0 w 306"/>
                  <a:gd name="T67" fmla="*/ 0 h 810"/>
                  <a:gd name="T68" fmla="*/ 0 w 306"/>
                  <a:gd name="T69" fmla="*/ 0 h 810"/>
                  <a:gd name="T70" fmla="*/ 0 w 306"/>
                  <a:gd name="T71" fmla="*/ 0 h 810"/>
                  <a:gd name="T72" fmla="*/ 0 w 306"/>
                  <a:gd name="T73" fmla="*/ 0 h 810"/>
                  <a:gd name="T74" fmla="*/ 0 w 306"/>
                  <a:gd name="T75" fmla="*/ 0 h 8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6"/>
                  <a:gd name="T115" fmla="*/ 0 h 810"/>
                  <a:gd name="T116" fmla="*/ 306 w 306"/>
                  <a:gd name="T117" fmla="*/ 810 h 81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6" h="810">
                    <a:moveTo>
                      <a:pt x="201" y="801"/>
                    </a:moveTo>
                    <a:lnTo>
                      <a:pt x="222" y="738"/>
                    </a:lnTo>
                    <a:lnTo>
                      <a:pt x="240" y="633"/>
                    </a:lnTo>
                    <a:lnTo>
                      <a:pt x="225" y="594"/>
                    </a:lnTo>
                    <a:lnTo>
                      <a:pt x="234" y="507"/>
                    </a:lnTo>
                    <a:lnTo>
                      <a:pt x="282" y="462"/>
                    </a:lnTo>
                    <a:lnTo>
                      <a:pt x="306" y="399"/>
                    </a:lnTo>
                    <a:lnTo>
                      <a:pt x="306" y="339"/>
                    </a:lnTo>
                    <a:lnTo>
                      <a:pt x="288" y="282"/>
                    </a:lnTo>
                    <a:lnTo>
                      <a:pt x="270" y="294"/>
                    </a:lnTo>
                    <a:lnTo>
                      <a:pt x="267" y="396"/>
                    </a:lnTo>
                    <a:lnTo>
                      <a:pt x="240" y="414"/>
                    </a:lnTo>
                    <a:lnTo>
                      <a:pt x="195" y="399"/>
                    </a:lnTo>
                    <a:lnTo>
                      <a:pt x="198" y="366"/>
                    </a:lnTo>
                    <a:lnTo>
                      <a:pt x="162" y="354"/>
                    </a:lnTo>
                    <a:lnTo>
                      <a:pt x="165" y="318"/>
                    </a:lnTo>
                    <a:lnTo>
                      <a:pt x="198" y="291"/>
                    </a:lnTo>
                    <a:lnTo>
                      <a:pt x="243" y="282"/>
                    </a:lnTo>
                    <a:lnTo>
                      <a:pt x="207" y="252"/>
                    </a:lnTo>
                    <a:lnTo>
                      <a:pt x="147" y="243"/>
                    </a:lnTo>
                    <a:lnTo>
                      <a:pt x="81" y="126"/>
                    </a:lnTo>
                    <a:lnTo>
                      <a:pt x="78" y="63"/>
                    </a:lnTo>
                    <a:lnTo>
                      <a:pt x="57" y="0"/>
                    </a:lnTo>
                    <a:lnTo>
                      <a:pt x="0" y="63"/>
                    </a:lnTo>
                    <a:lnTo>
                      <a:pt x="9" y="132"/>
                    </a:lnTo>
                    <a:lnTo>
                      <a:pt x="21" y="207"/>
                    </a:lnTo>
                    <a:lnTo>
                      <a:pt x="123" y="258"/>
                    </a:lnTo>
                    <a:lnTo>
                      <a:pt x="135" y="312"/>
                    </a:lnTo>
                    <a:lnTo>
                      <a:pt x="117" y="399"/>
                    </a:lnTo>
                    <a:lnTo>
                      <a:pt x="108" y="465"/>
                    </a:lnTo>
                    <a:lnTo>
                      <a:pt x="42" y="465"/>
                    </a:lnTo>
                    <a:lnTo>
                      <a:pt x="12" y="531"/>
                    </a:lnTo>
                    <a:lnTo>
                      <a:pt x="24" y="600"/>
                    </a:lnTo>
                    <a:lnTo>
                      <a:pt x="21" y="729"/>
                    </a:lnTo>
                    <a:lnTo>
                      <a:pt x="75" y="810"/>
                    </a:lnTo>
                    <a:lnTo>
                      <a:pt x="108" y="786"/>
                    </a:lnTo>
                    <a:lnTo>
                      <a:pt x="159" y="807"/>
                    </a:lnTo>
                    <a:lnTo>
                      <a:pt x="201" y="80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1" name="Freeform 34"/>
              <p:cNvSpPr>
                <a:spLocks/>
              </p:cNvSpPr>
              <p:nvPr/>
            </p:nvSpPr>
            <p:spPr bwMode="auto">
              <a:xfrm>
                <a:off x="1787" y="2812"/>
                <a:ext cx="161" cy="231"/>
              </a:xfrm>
              <a:custGeom>
                <a:avLst/>
                <a:gdLst>
                  <a:gd name="T0" fmla="*/ 0 w 447"/>
                  <a:gd name="T1" fmla="*/ 0 h 627"/>
                  <a:gd name="T2" fmla="*/ 0 w 447"/>
                  <a:gd name="T3" fmla="*/ 0 h 627"/>
                  <a:gd name="T4" fmla="*/ 0 w 447"/>
                  <a:gd name="T5" fmla="*/ 0 h 627"/>
                  <a:gd name="T6" fmla="*/ 0 w 447"/>
                  <a:gd name="T7" fmla="*/ 0 h 627"/>
                  <a:gd name="T8" fmla="*/ 0 w 447"/>
                  <a:gd name="T9" fmla="*/ 0 h 627"/>
                  <a:gd name="T10" fmla="*/ 0 w 447"/>
                  <a:gd name="T11" fmla="*/ 0 h 627"/>
                  <a:gd name="T12" fmla="*/ 0 w 447"/>
                  <a:gd name="T13" fmla="*/ 0 h 627"/>
                  <a:gd name="T14" fmla="*/ 0 w 447"/>
                  <a:gd name="T15" fmla="*/ 0 h 627"/>
                  <a:gd name="T16" fmla="*/ 0 w 447"/>
                  <a:gd name="T17" fmla="*/ 0 h 627"/>
                  <a:gd name="T18" fmla="*/ 0 w 447"/>
                  <a:gd name="T19" fmla="*/ 0 h 627"/>
                  <a:gd name="T20" fmla="*/ 0 w 447"/>
                  <a:gd name="T21" fmla="*/ 0 h 627"/>
                  <a:gd name="T22" fmla="*/ 0 w 447"/>
                  <a:gd name="T23" fmla="*/ 0 h 627"/>
                  <a:gd name="T24" fmla="*/ 0 w 447"/>
                  <a:gd name="T25" fmla="*/ 0 h 627"/>
                  <a:gd name="T26" fmla="*/ 0 w 447"/>
                  <a:gd name="T27" fmla="*/ 0 h 627"/>
                  <a:gd name="T28" fmla="*/ 0 w 447"/>
                  <a:gd name="T29" fmla="*/ 0 h 627"/>
                  <a:gd name="T30" fmla="*/ 0 w 447"/>
                  <a:gd name="T31" fmla="*/ 0 h 627"/>
                  <a:gd name="T32" fmla="*/ 0 w 447"/>
                  <a:gd name="T33" fmla="*/ 0 h 627"/>
                  <a:gd name="T34" fmla="*/ 0 w 447"/>
                  <a:gd name="T35" fmla="*/ 0 h 627"/>
                  <a:gd name="T36" fmla="*/ 0 w 447"/>
                  <a:gd name="T37" fmla="*/ 0 h 627"/>
                  <a:gd name="T38" fmla="*/ 0 w 447"/>
                  <a:gd name="T39" fmla="*/ 0 h 627"/>
                  <a:gd name="T40" fmla="*/ 0 w 447"/>
                  <a:gd name="T41" fmla="*/ 0 h 627"/>
                  <a:gd name="T42" fmla="*/ 0 w 447"/>
                  <a:gd name="T43" fmla="*/ 0 h 627"/>
                  <a:gd name="T44" fmla="*/ 0 w 447"/>
                  <a:gd name="T45" fmla="*/ 0 h 627"/>
                  <a:gd name="T46" fmla="*/ 0 w 447"/>
                  <a:gd name="T47" fmla="*/ 0 h 627"/>
                  <a:gd name="T48" fmla="*/ 0 w 447"/>
                  <a:gd name="T49" fmla="*/ 0 h 627"/>
                  <a:gd name="T50" fmla="*/ 0 w 447"/>
                  <a:gd name="T51" fmla="*/ 0 h 627"/>
                  <a:gd name="T52" fmla="*/ 0 w 447"/>
                  <a:gd name="T53" fmla="*/ 0 h 627"/>
                  <a:gd name="T54" fmla="*/ 0 w 447"/>
                  <a:gd name="T55" fmla="*/ 0 h 627"/>
                  <a:gd name="T56" fmla="*/ 0 w 447"/>
                  <a:gd name="T57" fmla="*/ 0 h 627"/>
                  <a:gd name="T58" fmla="*/ 0 w 447"/>
                  <a:gd name="T59" fmla="*/ 0 h 627"/>
                  <a:gd name="T60" fmla="*/ 0 w 447"/>
                  <a:gd name="T61" fmla="*/ 0 h 627"/>
                  <a:gd name="T62" fmla="*/ 0 w 447"/>
                  <a:gd name="T63" fmla="*/ 0 h 627"/>
                  <a:gd name="T64" fmla="*/ 0 w 447"/>
                  <a:gd name="T65" fmla="*/ 0 h 627"/>
                  <a:gd name="T66" fmla="*/ 0 w 447"/>
                  <a:gd name="T67" fmla="*/ 0 h 627"/>
                  <a:gd name="T68" fmla="*/ 0 w 447"/>
                  <a:gd name="T69" fmla="*/ 0 h 627"/>
                  <a:gd name="T70" fmla="*/ 0 w 447"/>
                  <a:gd name="T71" fmla="*/ 0 h 627"/>
                  <a:gd name="T72" fmla="*/ 0 w 447"/>
                  <a:gd name="T73" fmla="*/ 0 h 6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7"/>
                  <a:gd name="T112" fmla="*/ 0 h 627"/>
                  <a:gd name="T113" fmla="*/ 447 w 447"/>
                  <a:gd name="T114" fmla="*/ 627 h 6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7" h="627">
                    <a:moveTo>
                      <a:pt x="333" y="621"/>
                    </a:moveTo>
                    <a:cubicBezTo>
                      <a:pt x="329" y="617"/>
                      <a:pt x="337" y="595"/>
                      <a:pt x="333" y="591"/>
                    </a:cubicBezTo>
                    <a:cubicBezTo>
                      <a:pt x="342" y="585"/>
                      <a:pt x="339" y="600"/>
                      <a:pt x="339" y="594"/>
                    </a:cubicBezTo>
                    <a:lnTo>
                      <a:pt x="336" y="552"/>
                    </a:lnTo>
                    <a:lnTo>
                      <a:pt x="315" y="471"/>
                    </a:lnTo>
                    <a:lnTo>
                      <a:pt x="375" y="438"/>
                    </a:lnTo>
                    <a:lnTo>
                      <a:pt x="417" y="393"/>
                    </a:lnTo>
                    <a:lnTo>
                      <a:pt x="438" y="330"/>
                    </a:lnTo>
                    <a:lnTo>
                      <a:pt x="447" y="207"/>
                    </a:lnTo>
                    <a:lnTo>
                      <a:pt x="429" y="153"/>
                    </a:lnTo>
                    <a:lnTo>
                      <a:pt x="447" y="63"/>
                    </a:lnTo>
                    <a:lnTo>
                      <a:pt x="441" y="0"/>
                    </a:lnTo>
                    <a:lnTo>
                      <a:pt x="396" y="0"/>
                    </a:lnTo>
                    <a:lnTo>
                      <a:pt x="372" y="63"/>
                    </a:lnTo>
                    <a:lnTo>
                      <a:pt x="345" y="69"/>
                    </a:lnTo>
                    <a:lnTo>
                      <a:pt x="330" y="39"/>
                    </a:lnTo>
                    <a:lnTo>
                      <a:pt x="279" y="33"/>
                    </a:lnTo>
                    <a:lnTo>
                      <a:pt x="249" y="48"/>
                    </a:lnTo>
                    <a:lnTo>
                      <a:pt x="237" y="87"/>
                    </a:lnTo>
                    <a:lnTo>
                      <a:pt x="102" y="87"/>
                    </a:lnTo>
                    <a:lnTo>
                      <a:pt x="36" y="120"/>
                    </a:lnTo>
                    <a:lnTo>
                      <a:pt x="18" y="156"/>
                    </a:lnTo>
                    <a:lnTo>
                      <a:pt x="42" y="276"/>
                    </a:lnTo>
                    <a:lnTo>
                      <a:pt x="0" y="393"/>
                    </a:lnTo>
                    <a:lnTo>
                      <a:pt x="69" y="513"/>
                    </a:lnTo>
                    <a:lnTo>
                      <a:pt x="153" y="501"/>
                    </a:lnTo>
                    <a:lnTo>
                      <a:pt x="171" y="525"/>
                    </a:lnTo>
                    <a:lnTo>
                      <a:pt x="168" y="552"/>
                    </a:lnTo>
                    <a:lnTo>
                      <a:pt x="90" y="543"/>
                    </a:lnTo>
                    <a:lnTo>
                      <a:pt x="39" y="579"/>
                    </a:lnTo>
                    <a:lnTo>
                      <a:pt x="42" y="612"/>
                    </a:lnTo>
                    <a:lnTo>
                      <a:pt x="126" y="612"/>
                    </a:lnTo>
                    <a:lnTo>
                      <a:pt x="192" y="570"/>
                    </a:lnTo>
                    <a:lnTo>
                      <a:pt x="225" y="519"/>
                    </a:lnTo>
                    <a:lnTo>
                      <a:pt x="252" y="609"/>
                    </a:lnTo>
                    <a:lnTo>
                      <a:pt x="300" y="627"/>
                    </a:lnTo>
                    <a:lnTo>
                      <a:pt x="333" y="62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2" name="Freeform 35"/>
              <p:cNvSpPr>
                <a:spLocks/>
              </p:cNvSpPr>
              <p:nvPr/>
            </p:nvSpPr>
            <p:spPr bwMode="auto">
              <a:xfrm>
                <a:off x="1416" y="2756"/>
                <a:ext cx="395" cy="352"/>
              </a:xfrm>
              <a:custGeom>
                <a:avLst/>
                <a:gdLst>
                  <a:gd name="T0" fmla="*/ 0 w 1095"/>
                  <a:gd name="T1" fmla="*/ 0 h 951"/>
                  <a:gd name="T2" fmla="*/ 0 w 1095"/>
                  <a:gd name="T3" fmla="*/ 0 h 951"/>
                  <a:gd name="T4" fmla="*/ 0 w 1095"/>
                  <a:gd name="T5" fmla="*/ 0 h 951"/>
                  <a:gd name="T6" fmla="*/ 0 w 1095"/>
                  <a:gd name="T7" fmla="*/ 0 h 951"/>
                  <a:gd name="T8" fmla="*/ 0 w 1095"/>
                  <a:gd name="T9" fmla="*/ 0 h 951"/>
                  <a:gd name="T10" fmla="*/ 0 w 1095"/>
                  <a:gd name="T11" fmla="*/ 0 h 951"/>
                  <a:gd name="T12" fmla="*/ 0 w 1095"/>
                  <a:gd name="T13" fmla="*/ 0 h 951"/>
                  <a:gd name="T14" fmla="*/ 0 w 1095"/>
                  <a:gd name="T15" fmla="*/ 0 h 951"/>
                  <a:gd name="T16" fmla="*/ 0 w 1095"/>
                  <a:gd name="T17" fmla="*/ 0 h 951"/>
                  <a:gd name="T18" fmla="*/ 0 w 1095"/>
                  <a:gd name="T19" fmla="*/ 0 h 951"/>
                  <a:gd name="T20" fmla="*/ 0 w 1095"/>
                  <a:gd name="T21" fmla="*/ 0 h 951"/>
                  <a:gd name="T22" fmla="*/ 0 w 1095"/>
                  <a:gd name="T23" fmla="*/ 0 h 951"/>
                  <a:gd name="T24" fmla="*/ 0 w 1095"/>
                  <a:gd name="T25" fmla="*/ 0 h 951"/>
                  <a:gd name="T26" fmla="*/ 0 w 1095"/>
                  <a:gd name="T27" fmla="*/ 0 h 951"/>
                  <a:gd name="T28" fmla="*/ 0 w 1095"/>
                  <a:gd name="T29" fmla="*/ 0 h 951"/>
                  <a:gd name="T30" fmla="*/ 0 w 1095"/>
                  <a:gd name="T31" fmla="*/ 0 h 951"/>
                  <a:gd name="T32" fmla="*/ 0 w 1095"/>
                  <a:gd name="T33" fmla="*/ 0 h 951"/>
                  <a:gd name="T34" fmla="*/ 0 w 1095"/>
                  <a:gd name="T35" fmla="*/ 0 h 951"/>
                  <a:gd name="T36" fmla="*/ 0 w 1095"/>
                  <a:gd name="T37" fmla="*/ 0 h 951"/>
                  <a:gd name="T38" fmla="*/ 0 w 1095"/>
                  <a:gd name="T39" fmla="*/ 0 h 951"/>
                  <a:gd name="T40" fmla="*/ 0 w 1095"/>
                  <a:gd name="T41" fmla="*/ 0 h 951"/>
                  <a:gd name="T42" fmla="*/ 0 w 1095"/>
                  <a:gd name="T43" fmla="*/ 0 h 951"/>
                  <a:gd name="T44" fmla="*/ 0 w 1095"/>
                  <a:gd name="T45" fmla="*/ 0 h 951"/>
                  <a:gd name="T46" fmla="*/ 0 w 1095"/>
                  <a:gd name="T47" fmla="*/ 0 h 951"/>
                  <a:gd name="T48" fmla="*/ 0 w 1095"/>
                  <a:gd name="T49" fmla="*/ 0 h 951"/>
                  <a:gd name="T50" fmla="*/ 0 w 1095"/>
                  <a:gd name="T51" fmla="*/ 0 h 951"/>
                  <a:gd name="T52" fmla="*/ 0 w 1095"/>
                  <a:gd name="T53" fmla="*/ 0 h 951"/>
                  <a:gd name="T54" fmla="*/ 0 w 1095"/>
                  <a:gd name="T55" fmla="*/ 0 h 951"/>
                  <a:gd name="T56" fmla="*/ 0 w 1095"/>
                  <a:gd name="T57" fmla="*/ 0 h 951"/>
                  <a:gd name="T58" fmla="*/ 0 w 1095"/>
                  <a:gd name="T59" fmla="*/ 0 h 951"/>
                  <a:gd name="T60" fmla="*/ 0 w 1095"/>
                  <a:gd name="T61" fmla="*/ 0 h 951"/>
                  <a:gd name="T62" fmla="*/ 0 w 1095"/>
                  <a:gd name="T63" fmla="*/ 0 h 951"/>
                  <a:gd name="T64" fmla="*/ 0 w 1095"/>
                  <a:gd name="T65" fmla="*/ 0 h 951"/>
                  <a:gd name="T66" fmla="*/ 0 w 1095"/>
                  <a:gd name="T67" fmla="*/ 0 h 951"/>
                  <a:gd name="T68" fmla="*/ 0 w 1095"/>
                  <a:gd name="T69" fmla="*/ 0 h 951"/>
                  <a:gd name="T70" fmla="*/ 0 w 1095"/>
                  <a:gd name="T71" fmla="*/ 0 h 951"/>
                  <a:gd name="T72" fmla="*/ 0 w 1095"/>
                  <a:gd name="T73" fmla="*/ 0 h 951"/>
                  <a:gd name="T74" fmla="*/ 0 w 1095"/>
                  <a:gd name="T75" fmla="*/ 0 h 951"/>
                  <a:gd name="T76" fmla="*/ 0 w 1095"/>
                  <a:gd name="T77" fmla="*/ 0 h 951"/>
                  <a:gd name="T78" fmla="*/ 0 w 1095"/>
                  <a:gd name="T79" fmla="*/ 0 h 951"/>
                  <a:gd name="T80" fmla="*/ 0 w 1095"/>
                  <a:gd name="T81" fmla="*/ 0 h 951"/>
                  <a:gd name="T82" fmla="*/ 0 w 1095"/>
                  <a:gd name="T83" fmla="*/ 0 h 951"/>
                  <a:gd name="T84" fmla="*/ 0 w 1095"/>
                  <a:gd name="T85" fmla="*/ 0 h 951"/>
                  <a:gd name="T86" fmla="*/ 0 w 1095"/>
                  <a:gd name="T87" fmla="*/ 0 h 951"/>
                  <a:gd name="T88" fmla="*/ 0 w 1095"/>
                  <a:gd name="T89" fmla="*/ 0 h 951"/>
                  <a:gd name="T90" fmla="*/ 0 w 1095"/>
                  <a:gd name="T91" fmla="*/ 0 h 951"/>
                  <a:gd name="T92" fmla="*/ 0 w 1095"/>
                  <a:gd name="T93" fmla="*/ 0 h 951"/>
                  <a:gd name="T94" fmla="*/ 0 w 1095"/>
                  <a:gd name="T95" fmla="*/ 0 h 951"/>
                  <a:gd name="T96" fmla="*/ 0 w 1095"/>
                  <a:gd name="T97" fmla="*/ 0 h 951"/>
                  <a:gd name="T98" fmla="*/ 0 w 1095"/>
                  <a:gd name="T99" fmla="*/ 0 h 951"/>
                  <a:gd name="T100" fmla="*/ 0 w 1095"/>
                  <a:gd name="T101" fmla="*/ 0 h 951"/>
                  <a:gd name="T102" fmla="*/ 0 w 1095"/>
                  <a:gd name="T103" fmla="*/ 0 h 951"/>
                  <a:gd name="T104" fmla="*/ 0 w 1095"/>
                  <a:gd name="T105" fmla="*/ 0 h 951"/>
                  <a:gd name="T106" fmla="*/ 0 w 1095"/>
                  <a:gd name="T107" fmla="*/ 0 h 951"/>
                  <a:gd name="T108" fmla="*/ 0 w 1095"/>
                  <a:gd name="T109" fmla="*/ 0 h 951"/>
                  <a:gd name="T110" fmla="*/ 0 w 1095"/>
                  <a:gd name="T111" fmla="*/ 0 h 951"/>
                  <a:gd name="T112" fmla="*/ 0 w 1095"/>
                  <a:gd name="T113" fmla="*/ 0 h 951"/>
                  <a:gd name="T114" fmla="*/ 0 w 1095"/>
                  <a:gd name="T115" fmla="*/ 0 h 951"/>
                  <a:gd name="T116" fmla="*/ 0 w 1095"/>
                  <a:gd name="T117" fmla="*/ 0 h 951"/>
                  <a:gd name="T118" fmla="*/ 0 w 1095"/>
                  <a:gd name="T119" fmla="*/ 0 h 951"/>
                  <a:gd name="T120" fmla="*/ 0 w 1095"/>
                  <a:gd name="T121" fmla="*/ 0 h 951"/>
                  <a:gd name="T122" fmla="*/ 0 w 1095"/>
                  <a:gd name="T123" fmla="*/ 0 h 951"/>
                  <a:gd name="T124" fmla="*/ 0 w 1095"/>
                  <a:gd name="T125" fmla="*/ 0 h 9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5"/>
                  <a:gd name="T190" fmla="*/ 0 h 951"/>
                  <a:gd name="T191" fmla="*/ 1095 w 1095"/>
                  <a:gd name="T192" fmla="*/ 951 h 9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5" h="951">
                    <a:moveTo>
                      <a:pt x="945" y="831"/>
                    </a:moveTo>
                    <a:lnTo>
                      <a:pt x="735" y="762"/>
                    </a:lnTo>
                    <a:lnTo>
                      <a:pt x="786" y="711"/>
                    </a:lnTo>
                    <a:lnTo>
                      <a:pt x="864" y="738"/>
                    </a:lnTo>
                    <a:lnTo>
                      <a:pt x="924" y="726"/>
                    </a:lnTo>
                    <a:lnTo>
                      <a:pt x="933" y="678"/>
                    </a:lnTo>
                    <a:lnTo>
                      <a:pt x="954" y="645"/>
                    </a:lnTo>
                    <a:lnTo>
                      <a:pt x="981" y="666"/>
                    </a:lnTo>
                    <a:lnTo>
                      <a:pt x="1095" y="663"/>
                    </a:lnTo>
                    <a:lnTo>
                      <a:pt x="1035" y="534"/>
                    </a:lnTo>
                    <a:lnTo>
                      <a:pt x="1068" y="423"/>
                    </a:lnTo>
                    <a:lnTo>
                      <a:pt x="1044" y="300"/>
                    </a:lnTo>
                    <a:lnTo>
                      <a:pt x="972" y="306"/>
                    </a:lnTo>
                    <a:lnTo>
                      <a:pt x="954" y="279"/>
                    </a:lnTo>
                    <a:lnTo>
                      <a:pt x="930" y="282"/>
                    </a:lnTo>
                    <a:lnTo>
                      <a:pt x="915" y="327"/>
                    </a:lnTo>
                    <a:lnTo>
                      <a:pt x="789" y="360"/>
                    </a:lnTo>
                    <a:lnTo>
                      <a:pt x="759" y="408"/>
                    </a:lnTo>
                    <a:lnTo>
                      <a:pt x="720" y="411"/>
                    </a:lnTo>
                    <a:lnTo>
                      <a:pt x="675" y="357"/>
                    </a:lnTo>
                    <a:lnTo>
                      <a:pt x="645" y="336"/>
                    </a:lnTo>
                    <a:lnTo>
                      <a:pt x="636" y="309"/>
                    </a:lnTo>
                    <a:lnTo>
                      <a:pt x="645" y="207"/>
                    </a:lnTo>
                    <a:lnTo>
                      <a:pt x="600" y="195"/>
                    </a:lnTo>
                    <a:lnTo>
                      <a:pt x="447" y="216"/>
                    </a:lnTo>
                    <a:lnTo>
                      <a:pt x="441" y="87"/>
                    </a:lnTo>
                    <a:lnTo>
                      <a:pt x="426" y="66"/>
                    </a:lnTo>
                    <a:lnTo>
                      <a:pt x="435" y="48"/>
                    </a:lnTo>
                    <a:lnTo>
                      <a:pt x="342" y="21"/>
                    </a:lnTo>
                    <a:lnTo>
                      <a:pt x="324" y="0"/>
                    </a:lnTo>
                    <a:lnTo>
                      <a:pt x="216" y="33"/>
                    </a:lnTo>
                    <a:lnTo>
                      <a:pt x="225" y="81"/>
                    </a:lnTo>
                    <a:lnTo>
                      <a:pt x="264" y="105"/>
                    </a:lnTo>
                    <a:lnTo>
                      <a:pt x="282" y="141"/>
                    </a:lnTo>
                    <a:lnTo>
                      <a:pt x="264" y="216"/>
                    </a:lnTo>
                    <a:lnTo>
                      <a:pt x="204" y="237"/>
                    </a:lnTo>
                    <a:lnTo>
                      <a:pt x="174" y="219"/>
                    </a:lnTo>
                    <a:lnTo>
                      <a:pt x="153" y="237"/>
                    </a:lnTo>
                    <a:lnTo>
                      <a:pt x="84" y="231"/>
                    </a:lnTo>
                    <a:lnTo>
                      <a:pt x="63" y="258"/>
                    </a:lnTo>
                    <a:lnTo>
                      <a:pt x="0" y="261"/>
                    </a:lnTo>
                    <a:lnTo>
                      <a:pt x="93" y="369"/>
                    </a:lnTo>
                    <a:lnTo>
                      <a:pt x="99" y="450"/>
                    </a:lnTo>
                    <a:lnTo>
                      <a:pt x="123" y="495"/>
                    </a:lnTo>
                    <a:lnTo>
                      <a:pt x="132" y="519"/>
                    </a:lnTo>
                    <a:lnTo>
                      <a:pt x="234" y="561"/>
                    </a:lnTo>
                    <a:lnTo>
                      <a:pt x="282" y="543"/>
                    </a:lnTo>
                    <a:lnTo>
                      <a:pt x="315" y="513"/>
                    </a:lnTo>
                    <a:lnTo>
                      <a:pt x="351" y="543"/>
                    </a:lnTo>
                    <a:lnTo>
                      <a:pt x="372" y="552"/>
                    </a:lnTo>
                    <a:lnTo>
                      <a:pt x="417" y="609"/>
                    </a:lnTo>
                    <a:lnTo>
                      <a:pt x="417" y="651"/>
                    </a:lnTo>
                    <a:lnTo>
                      <a:pt x="411" y="723"/>
                    </a:lnTo>
                    <a:lnTo>
                      <a:pt x="456" y="729"/>
                    </a:lnTo>
                    <a:lnTo>
                      <a:pt x="483" y="711"/>
                    </a:lnTo>
                    <a:lnTo>
                      <a:pt x="513" y="750"/>
                    </a:lnTo>
                    <a:lnTo>
                      <a:pt x="546" y="828"/>
                    </a:lnTo>
                    <a:lnTo>
                      <a:pt x="600" y="885"/>
                    </a:lnTo>
                    <a:lnTo>
                      <a:pt x="636" y="888"/>
                    </a:lnTo>
                    <a:lnTo>
                      <a:pt x="651" y="951"/>
                    </a:lnTo>
                    <a:lnTo>
                      <a:pt x="768" y="942"/>
                    </a:lnTo>
                    <a:lnTo>
                      <a:pt x="900" y="903"/>
                    </a:lnTo>
                    <a:lnTo>
                      <a:pt x="945" y="83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73" name="Freeform 36"/>
              <p:cNvSpPr>
                <a:spLocks/>
              </p:cNvSpPr>
              <p:nvPr/>
            </p:nvSpPr>
            <p:spPr bwMode="auto">
              <a:xfrm>
                <a:off x="1384" y="2948"/>
                <a:ext cx="446" cy="306"/>
              </a:xfrm>
              <a:custGeom>
                <a:avLst/>
                <a:gdLst>
                  <a:gd name="T0" fmla="*/ 186 w 446"/>
                  <a:gd name="T1" fmla="*/ 235 h 306"/>
                  <a:gd name="T2" fmla="*/ 216 w 446"/>
                  <a:gd name="T3" fmla="*/ 261 h 306"/>
                  <a:gd name="T4" fmla="*/ 246 w 446"/>
                  <a:gd name="T5" fmla="*/ 305 h 306"/>
                  <a:gd name="T6" fmla="*/ 280 w 446"/>
                  <a:gd name="T7" fmla="*/ 303 h 306"/>
                  <a:gd name="T8" fmla="*/ 318 w 446"/>
                  <a:gd name="T9" fmla="*/ 305 h 306"/>
                  <a:gd name="T10" fmla="*/ 372 w 446"/>
                  <a:gd name="T11" fmla="*/ 287 h 306"/>
                  <a:gd name="T12" fmla="*/ 409 w 446"/>
                  <a:gd name="T13" fmla="*/ 285 h 306"/>
                  <a:gd name="T14" fmla="*/ 410 w 446"/>
                  <a:gd name="T15" fmla="*/ 257 h 306"/>
                  <a:gd name="T16" fmla="*/ 395 w 446"/>
                  <a:gd name="T17" fmla="*/ 242 h 306"/>
                  <a:gd name="T18" fmla="*/ 419 w 446"/>
                  <a:gd name="T19" fmla="*/ 228 h 306"/>
                  <a:gd name="T20" fmla="*/ 434 w 446"/>
                  <a:gd name="T21" fmla="*/ 210 h 306"/>
                  <a:gd name="T22" fmla="*/ 400 w 446"/>
                  <a:gd name="T23" fmla="*/ 201 h 306"/>
                  <a:gd name="T24" fmla="*/ 435 w 446"/>
                  <a:gd name="T25" fmla="*/ 146 h 306"/>
                  <a:gd name="T26" fmla="*/ 402 w 446"/>
                  <a:gd name="T27" fmla="*/ 129 h 306"/>
                  <a:gd name="T28" fmla="*/ 388 w 446"/>
                  <a:gd name="T29" fmla="*/ 128 h 306"/>
                  <a:gd name="T30" fmla="*/ 356 w 446"/>
                  <a:gd name="T31" fmla="*/ 143 h 306"/>
                  <a:gd name="T32" fmla="*/ 266 w 446"/>
                  <a:gd name="T33" fmla="*/ 160 h 306"/>
                  <a:gd name="T34" fmla="*/ 246 w 446"/>
                  <a:gd name="T35" fmla="*/ 136 h 306"/>
                  <a:gd name="T36" fmla="*/ 217 w 446"/>
                  <a:gd name="T37" fmla="*/ 90 h 306"/>
                  <a:gd name="T38" fmla="*/ 198 w 446"/>
                  <a:gd name="T39" fmla="*/ 78 h 306"/>
                  <a:gd name="T40" fmla="*/ 181 w 446"/>
                  <a:gd name="T41" fmla="*/ 35 h 306"/>
                  <a:gd name="T42" fmla="*/ 157 w 446"/>
                  <a:gd name="T43" fmla="*/ 9 h 306"/>
                  <a:gd name="T44" fmla="*/ 134 w 446"/>
                  <a:gd name="T45" fmla="*/ 8 h 306"/>
                  <a:gd name="T46" fmla="*/ 96 w 446"/>
                  <a:gd name="T47" fmla="*/ 7 h 306"/>
                  <a:gd name="T48" fmla="*/ 36 w 446"/>
                  <a:gd name="T49" fmla="*/ 16 h 306"/>
                  <a:gd name="T50" fmla="*/ 2 w 446"/>
                  <a:gd name="T51" fmla="*/ 11 h 306"/>
                  <a:gd name="T52" fmla="*/ 8 w 446"/>
                  <a:gd name="T53" fmla="*/ 29 h 306"/>
                  <a:gd name="T54" fmla="*/ 40 w 446"/>
                  <a:gd name="T55" fmla="*/ 49 h 306"/>
                  <a:gd name="T56" fmla="*/ 40 w 446"/>
                  <a:gd name="T57" fmla="*/ 87 h 306"/>
                  <a:gd name="T58" fmla="*/ 72 w 446"/>
                  <a:gd name="T59" fmla="*/ 107 h 306"/>
                  <a:gd name="T60" fmla="*/ 82 w 446"/>
                  <a:gd name="T61" fmla="*/ 135 h 306"/>
                  <a:gd name="T62" fmla="*/ 102 w 446"/>
                  <a:gd name="T63" fmla="*/ 147 h 306"/>
                  <a:gd name="T64" fmla="*/ 146 w 446"/>
                  <a:gd name="T65" fmla="*/ 149 h 306"/>
                  <a:gd name="T66" fmla="*/ 164 w 446"/>
                  <a:gd name="T67" fmla="*/ 169 h 306"/>
                  <a:gd name="T68" fmla="*/ 196 w 446"/>
                  <a:gd name="T69" fmla="*/ 199 h 306"/>
                  <a:gd name="T70" fmla="*/ 182 w 446"/>
                  <a:gd name="T71" fmla="*/ 233 h 3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6"/>
                  <a:gd name="T109" fmla="*/ 0 h 306"/>
                  <a:gd name="T110" fmla="*/ 446 w 446"/>
                  <a:gd name="T111" fmla="*/ 306 h 3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6" h="306">
                    <a:moveTo>
                      <a:pt x="182" y="233"/>
                    </a:moveTo>
                    <a:lnTo>
                      <a:pt x="186" y="235"/>
                    </a:lnTo>
                    <a:lnTo>
                      <a:pt x="200" y="247"/>
                    </a:lnTo>
                    <a:lnTo>
                      <a:pt x="216" y="261"/>
                    </a:lnTo>
                    <a:lnTo>
                      <a:pt x="236" y="279"/>
                    </a:lnTo>
                    <a:lnTo>
                      <a:pt x="246" y="305"/>
                    </a:lnTo>
                    <a:lnTo>
                      <a:pt x="265" y="306"/>
                    </a:lnTo>
                    <a:lnTo>
                      <a:pt x="280" y="303"/>
                    </a:lnTo>
                    <a:lnTo>
                      <a:pt x="292" y="303"/>
                    </a:lnTo>
                    <a:lnTo>
                      <a:pt x="318" y="305"/>
                    </a:lnTo>
                    <a:lnTo>
                      <a:pt x="336" y="293"/>
                    </a:lnTo>
                    <a:lnTo>
                      <a:pt x="372" y="287"/>
                    </a:lnTo>
                    <a:lnTo>
                      <a:pt x="388" y="281"/>
                    </a:lnTo>
                    <a:lnTo>
                      <a:pt x="409" y="285"/>
                    </a:lnTo>
                    <a:lnTo>
                      <a:pt x="415" y="278"/>
                    </a:lnTo>
                    <a:lnTo>
                      <a:pt x="410" y="257"/>
                    </a:lnTo>
                    <a:lnTo>
                      <a:pt x="398" y="254"/>
                    </a:lnTo>
                    <a:lnTo>
                      <a:pt x="395" y="242"/>
                    </a:lnTo>
                    <a:lnTo>
                      <a:pt x="413" y="237"/>
                    </a:lnTo>
                    <a:lnTo>
                      <a:pt x="419" y="228"/>
                    </a:lnTo>
                    <a:lnTo>
                      <a:pt x="446" y="221"/>
                    </a:lnTo>
                    <a:lnTo>
                      <a:pt x="434" y="210"/>
                    </a:lnTo>
                    <a:lnTo>
                      <a:pt x="406" y="207"/>
                    </a:lnTo>
                    <a:lnTo>
                      <a:pt x="400" y="201"/>
                    </a:lnTo>
                    <a:lnTo>
                      <a:pt x="416" y="162"/>
                    </a:lnTo>
                    <a:lnTo>
                      <a:pt x="435" y="146"/>
                    </a:lnTo>
                    <a:lnTo>
                      <a:pt x="425" y="131"/>
                    </a:lnTo>
                    <a:lnTo>
                      <a:pt x="402" y="129"/>
                    </a:lnTo>
                    <a:lnTo>
                      <a:pt x="401" y="122"/>
                    </a:lnTo>
                    <a:lnTo>
                      <a:pt x="388" y="128"/>
                    </a:lnTo>
                    <a:lnTo>
                      <a:pt x="373" y="116"/>
                    </a:lnTo>
                    <a:lnTo>
                      <a:pt x="356" y="143"/>
                    </a:lnTo>
                    <a:lnTo>
                      <a:pt x="311" y="155"/>
                    </a:lnTo>
                    <a:lnTo>
                      <a:pt x="266" y="160"/>
                    </a:lnTo>
                    <a:lnTo>
                      <a:pt x="259" y="137"/>
                    </a:lnTo>
                    <a:lnTo>
                      <a:pt x="246" y="136"/>
                    </a:lnTo>
                    <a:lnTo>
                      <a:pt x="226" y="110"/>
                    </a:lnTo>
                    <a:lnTo>
                      <a:pt x="217" y="90"/>
                    </a:lnTo>
                    <a:lnTo>
                      <a:pt x="207" y="72"/>
                    </a:lnTo>
                    <a:lnTo>
                      <a:pt x="198" y="78"/>
                    </a:lnTo>
                    <a:lnTo>
                      <a:pt x="180" y="75"/>
                    </a:lnTo>
                    <a:lnTo>
                      <a:pt x="181" y="35"/>
                    </a:lnTo>
                    <a:lnTo>
                      <a:pt x="165" y="11"/>
                    </a:lnTo>
                    <a:lnTo>
                      <a:pt x="157" y="9"/>
                    </a:lnTo>
                    <a:lnTo>
                      <a:pt x="148" y="0"/>
                    </a:lnTo>
                    <a:lnTo>
                      <a:pt x="134" y="8"/>
                    </a:lnTo>
                    <a:lnTo>
                      <a:pt x="116" y="16"/>
                    </a:lnTo>
                    <a:lnTo>
                      <a:pt x="96" y="7"/>
                    </a:lnTo>
                    <a:lnTo>
                      <a:pt x="88" y="18"/>
                    </a:lnTo>
                    <a:lnTo>
                      <a:pt x="36" y="16"/>
                    </a:lnTo>
                    <a:lnTo>
                      <a:pt x="23" y="21"/>
                    </a:lnTo>
                    <a:lnTo>
                      <a:pt x="2" y="11"/>
                    </a:lnTo>
                    <a:lnTo>
                      <a:pt x="0" y="7"/>
                    </a:lnTo>
                    <a:lnTo>
                      <a:pt x="8" y="29"/>
                    </a:lnTo>
                    <a:lnTo>
                      <a:pt x="18" y="35"/>
                    </a:lnTo>
                    <a:lnTo>
                      <a:pt x="40" y="49"/>
                    </a:lnTo>
                    <a:lnTo>
                      <a:pt x="32" y="83"/>
                    </a:lnTo>
                    <a:lnTo>
                      <a:pt x="40" y="87"/>
                    </a:lnTo>
                    <a:lnTo>
                      <a:pt x="54" y="89"/>
                    </a:lnTo>
                    <a:lnTo>
                      <a:pt x="72" y="107"/>
                    </a:lnTo>
                    <a:lnTo>
                      <a:pt x="82" y="119"/>
                    </a:lnTo>
                    <a:lnTo>
                      <a:pt x="82" y="135"/>
                    </a:lnTo>
                    <a:lnTo>
                      <a:pt x="94" y="135"/>
                    </a:lnTo>
                    <a:lnTo>
                      <a:pt x="102" y="147"/>
                    </a:lnTo>
                    <a:lnTo>
                      <a:pt x="122" y="145"/>
                    </a:lnTo>
                    <a:lnTo>
                      <a:pt x="146" y="149"/>
                    </a:lnTo>
                    <a:lnTo>
                      <a:pt x="142" y="169"/>
                    </a:lnTo>
                    <a:lnTo>
                      <a:pt x="164" y="169"/>
                    </a:lnTo>
                    <a:lnTo>
                      <a:pt x="192" y="175"/>
                    </a:lnTo>
                    <a:lnTo>
                      <a:pt x="196" y="199"/>
                    </a:lnTo>
                    <a:lnTo>
                      <a:pt x="180" y="224"/>
                    </a:lnTo>
                    <a:lnTo>
                      <a:pt x="182" y="23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77" name="Group 37"/>
            <p:cNvGrpSpPr>
              <a:grpSpLocks/>
            </p:cNvGrpSpPr>
            <p:nvPr/>
          </p:nvGrpSpPr>
          <p:grpSpPr bwMode="auto">
            <a:xfrm>
              <a:off x="660" y="2585"/>
              <a:ext cx="1234" cy="740"/>
              <a:chOff x="471" y="2907"/>
              <a:chExt cx="1234" cy="740"/>
            </a:xfrm>
          </p:grpSpPr>
          <p:sp>
            <p:nvSpPr>
              <p:cNvPr id="29855" name="Freeform 38"/>
              <p:cNvSpPr>
                <a:spLocks/>
              </p:cNvSpPr>
              <p:nvPr/>
            </p:nvSpPr>
            <p:spPr bwMode="auto">
              <a:xfrm>
                <a:off x="1506" y="3251"/>
                <a:ext cx="199" cy="113"/>
              </a:xfrm>
              <a:custGeom>
                <a:avLst/>
                <a:gdLst>
                  <a:gd name="T0" fmla="*/ 0 w 498"/>
                  <a:gd name="T1" fmla="*/ 0 h 345"/>
                  <a:gd name="T2" fmla="*/ 0 w 498"/>
                  <a:gd name="T3" fmla="*/ 0 h 345"/>
                  <a:gd name="T4" fmla="*/ 0 w 498"/>
                  <a:gd name="T5" fmla="*/ 0 h 345"/>
                  <a:gd name="T6" fmla="*/ 0 w 498"/>
                  <a:gd name="T7" fmla="*/ 0 h 345"/>
                  <a:gd name="T8" fmla="*/ 0 w 498"/>
                  <a:gd name="T9" fmla="*/ 0 h 345"/>
                  <a:gd name="T10" fmla="*/ 0 w 498"/>
                  <a:gd name="T11" fmla="*/ 0 h 345"/>
                  <a:gd name="T12" fmla="*/ 0 w 498"/>
                  <a:gd name="T13" fmla="*/ 0 h 345"/>
                  <a:gd name="T14" fmla="*/ 0 w 498"/>
                  <a:gd name="T15" fmla="*/ 0 h 345"/>
                  <a:gd name="T16" fmla="*/ 0 w 498"/>
                  <a:gd name="T17" fmla="*/ 0 h 345"/>
                  <a:gd name="T18" fmla="*/ 0 w 498"/>
                  <a:gd name="T19" fmla="*/ 0 h 345"/>
                  <a:gd name="T20" fmla="*/ 0 w 498"/>
                  <a:gd name="T21" fmla="*/ 0 h 345"/>
                  <a:gd name="T22" fmla="*/ 0 w 498"/>
                  <a:gd name="T23" fmla="*/ 0 h 345"/>
                  <a:gd name="T24" fmla="*/ 0 w 498"/>
                  <a:gd name="T25" fmla="*/ 0 h 345"/>
                  <a:gd name="T26" fmla="*/ 0 w 498"/>
                  <a:gd name="T27" fmla="*/ 0 h 345"/>
                  <a:gd name="T28" fmla="*/ 0 w 498"/>
                  <a:gd name="T29" fmla="*/ 0 h 345"/>
                  <a:gd name="T30" fmla="*/ 0 w 498"/>
                  <a:gd name="T31" fmla="*/ 0 h 345"/>
                  <a:gd name="T32" fmla="*/ 0 w 498"/>
                  <a:gd name="T33" fmla="*/ 0 h 345"/>
                  <a:gd name="T34" fmla="*/ 0 w 498"/>
                  <a:gd name="T35" fmla="*/ 0 h 345"/>
                  <a:gd name="T36" fmla="*/ 0 w 498"/>
                  <a:gd name="T37" fmla="*/ 0 h 345"/>
                  <a:gd name="T38" fmla="*/ 0 w 498"/>
                  <a:gd name="T39" fmla="*/ 0 h 345"/>
                  <a:gd name="T40" fmla="*/ 0 w 498"/>
                  <a:gd name="T41" fmla="*/ 0 h 345"/>
                  <a:gd name="T42" fmla="*/ 0 w 498"/>
                  <a:gd name="T43" fmla="*/ 0 h 345"/>
                  <a:gd name="T44" fmla="*/ 0 w 498"/>
                  <a:gd name="T45" fmla="*/ 0 h 3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98"/>
                  <a:gd name="T70" fmla="*/ 0 h 345"/>
                  <a:gd name="T71" fmla="*/ 498 w 498"/>
                  <a:gd name="T72" fmla="*/ 345 h 3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98" h="345">
                    <a:moveTo>
                      <a:pt x="498" y="18"/>
                    </a:moveTo>
                    <a:lnTo>
                      <a:pt x="393" y="93"/>
                    </a:lnTo>
                    <a:lnTo>
                      <a:pt x="348" y="195"/>
                    </a:lnTo>
                    <a:lnTo>
                      <a:pt x="267" y="222"/>
                    </a:lnTo>
                    <a:lnTo>
                      <a:pt x="294" y="294"/>
                    </a:lnTo>
                    <a:lnTo>
                      <a:pt x="267" y="333"/>
                    </a:lnTo>
                    <a:lnTo>
                      <a:pt x="225" y="306"/>
                    </a:lnTo>
                    <a:lnTo>
                      <a:pt x="159" y="300"/>
                    </a:lnTo>
                    <a:lnTo>
                      <a:pt x="120" y="345"/>
                    </a:lnTo>
                    <a:lnTo>
                      <a:pt x="78" y="345"/>
                    </a:lnTo>
                    <a:lnTo>
                      <a:pt x="51" y="312"/>
                    </a:lnTo>
                    <a:lnTo>
                      <a:pt x="12" y="318"/>
                    </a:lnTo>
                    <a:lnTo>
                      <a:pt x="33" y="228"/>
                    </a:lnTo>
                    <a:lnTo>
                      <a:pt x="0" y="150"/>
                    </a:lnTo>
                    <a:lnTo>
                      <a:pt x="33" y="66"/>
                    </a:lnTo>
                    <a:lnTo>
                      <a:pt x="72" y="63"/>
                    </a:lnTo>
                    <a:lnTo>
                      <a:pt x="93" y="9"/>
                    </a:lnTo>
                    <a:lnTo>
                      <a:pt x="165" y="9"/>
                    </a:lnTo>
                    <a:lnTo>
                      <a:pt x="180" y="69"/>
                    </a:lnTo>
                    <a:lnTo>
                      <a:pt x="303" y="27"/>
                    </a:lnTo>
                    <a:lnTo>
                      <a:pt x="312" y="6"/>
                    </a:lnTo>
                    <a:lnTo>
                      <a:pt x="486" y="0"/>
                    </a:lnTo>
                    <a:lnTo>
                      <a:pt x="498" y="1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6" name="Freeform 39"/>
              <p:cNvSpPr>
                <a:spLocks/>
              </p:cNvSpPr>
              <p:nvPr/>
            </p:nvSpPr>
            <p:spPr bwMode="auto">
              <a:xfrm>
                <a:off x="471" y="3018"/>
                <a:ext cx="571" cy="378"/>
              </a:xfrm>
              <a:custGeom>
                <a:avLst/>
                <a:gdLst>
                  <a:gd name="T0" fmla="*/ 61 w 571"/>
                  <a:gd name="T1" fmla="*/ 71 h 378"/>
                  <a:gd name="T2" fmla="*/ 61 w 571"/>
                  <a:gd name="T3" fmla="*/ 134 h 378"/>
                  <a:gd name="T4" fmla="*/ 30 w 571"/>
                  <a:gd name="T5" fmla="*/ 229 h 378"/>
                  <a:gd name="T6" fmla="*/ 0 w 571"/>
                  <a:gd name="T7" fmla="*/ 292 h 378"/>
                  <a:gd name="T8" fmla="*/ 42 w 571"/>
                  <a:gd name="T9" fmla="*/ 315 h 378"/>
                  <a:gd name="T10" fmla="*/ 115 w 571"/>
                  <a:gd name="T11" fmla="*/ 355 h 378"/>
                  <a:gd name="T12" fmla="*/ 164 w 571"/>
                  <a:gd name="T13" fmla="*/ 378 h 378"/>
                  <a:gd name="T14" fmla="*/ 136 w 571"/>
                  <a:gd name="T15" fmla="*/ 336 h 378"/>
                  <a:gd name="T16" fmla="*/ 129 w 571"/>
                  <a:gd name="T17" fmla="*/ 316 h 378"/>
                  <a:gd name="T18" fmla="*/ 122 w 571"/>
                  <a:gd name="T19" fmla="*/ 277 h 378"/>
                  <a:gd name="T20" fmla="*/ 133 w 571"/>
                  <a:gd name="T21" fmla="*/ 259 h 378"/>
                  <a:gd name="T22" fmla="*/ 188 w 571"/>
                  <a:gd name="T23" fmla="*/ 260 h 378"/>
                  <a:gd name="T24" fmla="*/ 232 w 571"/>
                  <a:gd name="T25" fmla="*/ 297 h 378"/>
                  <a:gd name="T26" fmla="*/ 267 w 571"/>
                  <a:gd name="T27" fmla="*/ 273 h 378"/>
                  <a:gd name="T28" fmla="*/ 320 w 571"/>
                  <a:gd name="T29" fmla="*/ 263 h 378"/>
                  <a:gd name="T30" fmla="*/ 328 w 571"/>
                  <a:gd name="T31" fmla="*/ 284 h 378"/>
                  <a:gd name="T32" fmla="*/ 340 w 571"/>
                  <a:gd name="T33" fmla="*/ 299 h 378"/>
                  <a:gd name="T34" fmla="*/ 353 w 571"/>
                  <a:gd name="T35" fmla="*/ 320 h 378"/>
                  <a:gd name="T36" fmla="*/ 437 w 571"/>
                  <a:gd name="T37" fmla="*/ 320 h 378"/>
                  <a:gd name="T38" fmla="*/ 470 w 571"/>
                  <a:gd name="T39" fmla="*/ 299 h 378"/>
                  <a:gd name="T40" fmla="*/ 491 w 571"/>
                  <a:gd name="T41" fmla="*/ 272 h 378"/>
                  <a:gd name="T42" fmla="*/ 539 w 571"/>
                  <a:gd name="T43" fmla="*/ 258 h 378"/>
                  <a:gd name="T44" fmla="*/ 571 w 571"/>
                  <a:gd name="T45" fmla="*/ 231 h 378"/>
                  <a:gd name="T46" fmla="*/ 554 w 571"/>
                  <a:gd name="T47" fmla="*/ 213 h 378"/>
                  <a:gd name="T48" fmla="*/ 548 w 571"/>
                  <a:gd name="T49" fmla="*/ 186 h 378"/>
                  <a:gd name="T50" fmla="*/ 509 w 571"/>
                  <a:gd name="T51" fmla="*/ 174 h 378"/>
                  <a:gd name="T52" fmla="*/ 493 w 571"/>
                  <a:gd name="T53" fmla="*/ 157 h 378"/>
                  <a:gd name="T54" fmla="*/ 514 w 571"/>
                  <a:gd name="T55" fmla="*/ 121 h 378"/>
                  <a:gd name="T56" fmla="*/ 490 w 571"/>
                  <a:gd name="T57" fmla="*/ 97 h 378"/>
                  <a:gd name="T58" fmla="*/ 466 w 571"/>
                  <a:gd name="T59" fmla="*/ 56 h 378"/>
                  <a:gd name="T60" fmla="*/ 447 w 571"/>
                  <a:gd name="T61" fmla="*/ 41 h 378"/>
                  <a:gd name="T62" fmla="*/ 426 w 571"/>
                  <a:gd name="T63" fmla="*/ 17 h 378"/>
                  <a:gd name="T64" fmla="*/ 384 w 571"/>
                  <a:gd name="T65" fmla="*/ 6 h 378"/>
                  <a:gd name="T66" fmla="*/ 334 w 571"/>
                  <a:gd name="T67" fmla="*/ 0 h 378"/>
                  <a:gd name="T68" fmla="*/ 311 w 571"/>
                  <a:gd name="T69" fmla="*/ 27 h 378"/>
                  <a:gd name="T70" fmla="*/ 287 w 571"/>
                  <a:gd name="T71" fmla="*/ 51 h 378"/>
                  <a:gd name="T72" fmla="*/ 269 w 571"/>
                  <a:gd name="T73" fmla="*/ 67 h 378"/>
                  <a:gd name="T74" fmla="*/ 232 w 571"/>
                  <a:gd name="T75" fmla="*/ 40 h 378"/>
                  <a:gd name="T76" fmla="*/ 194 w 571"/>
                  <a:gd name="T77" fmla="*/ 26 h 378"/>
                  <a:gd name="T78" fmla="*/ 168 w 571"/>
                  <a:gd name="T79" fmla="*/ 44 h 378"/>
                  <a:gd name="T80" fmla="*/ 133 w 571"/>
                  <a:gd name="T81" fmla="*/ 44 h 378"/>
                  <a:gd name="T82" fmla="*/ 99 w 571"/>
                  <a:gd name="T83" fmla="*/ 39 h 378"/>
                  <a:gd name="T84" fmla="*/ 59 w 571"/>
                  <a:gd name="T85" fmla="*/ 43 h 3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1"/>
                  <a:gd name="T130" fmla="*/ 0 h 378"/>
                  <a:gd name="T131" fmla="*/ 571 w 571"/>
                  <a:gd name="T132" fmla="*/ 378 h 37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1" h="378">
                    <a:moveTo>
                      <a:pt x="59" y="43"/>
                    </a:moveTo>
                    <a:lnTo>
                      <a:pt x="61" y="71"/>
                    </a:lnTo>
                    <a:lnTo>
                      <a:pt x="63" y="107"/>
                    </a:lnTo>
                    <a:lnTo>
                      <a:pt x="61" y="134"/>
                    </a:lnTo>
                    <a:lnTo>
                      <a:pt x="44" y="186"/>
                    </a:lnTo>
                    <a:lnTo>
                      <a:pt x="30" y="229"/>
                    </a:lnTo>
                    <a:lnTo>
                      <a:pt x="11" y="277"/>
                    </a:lnTo>
                    <a:lnTo>
                      <a:pt x="0" y="292"/>
                    </a:lnTo>
                    <a:lnTo>
                      <a:pt x="6" y="306"/>
                    </a:lnTo>
                    <a:lnTo>
                      <a:pt x="42" y="315"/>
                    </a:lnTo>
                    <a:lnTo>
                      <a:pt x="80" y="333"/>
                    </a:lnTo>
                    <a:lnTo>
                      <a:pt x="115" y="355"/>
                    </a:lnTo>
                    <a:lnTo>
                      <a:pt x="150" y="377"/>
                    </a:lnTo>
                    <a:lnTo>
                      <a:pt x="164" y="378"/>
                    </a:lnTo>
                    <a:lnTo>
                      <a:pt x="162" y="359"/>
                    </a:lnTo>
                    <a:lnTo>
                      <a:pt x="136" y="336"/>
                    </a:lnTo>
                    <a:lnTo>
                      <a:pt x="129" y="337"/>
                    </a:lnTo>
                    <a:lnTo>
                      <a:pt x="129" y="316"/>
                    </a:lnTo>
                    <a:lnTo>
                      <a:pt x="111" y="298"/>
                    </a:lnTo>
                    <a:lnTo>
                      <a:pt x="122" y="277"/>
                    </a:lnTo>
                    <a:lnTo>
                      <a:pt x="130" y="272"/>
                    </a:lnTo>
                    <a:lnTo>
                      <a:pt x="133" y="259"/>
                    </a:lnTo>
                    <a:lnTo>
                      <a:pt x="165" y="268"/>
                    </a:lnTo>
                    <a:lnTo>
                      <a:pt x="188" y="260"/>
                    </a:lnTo>
                    <a:lnTo>
                      <a:pt x="212" y="269"/>
                    </a:lnTo>
                    <a:lnTo>
                      <a:pt x="232" y="297"/>
                    </a:lnTo>
                    <a:lnTo>
                      <a:pt x="253" y="297"/>
                    </a:lnTo>
                    <a:lnTo>
                      <a:pt x="267" y="273"/>
                    </a:lnTo>
                    <a:lnTo>
                      <a:pt x="287" y="270"/>
                    </a:lnTo>
                    <a:lnTo>
                      <a:pt x="320" y="263"/>
                    </a:lnTo>
                    <a:lnTo>
                      <a:pt x="333" y="274"/>
                    </a:lnTo>
                    <a:lnTo>
                      <a:pt x="328" y="284"/>
                    </a:lnTo>
                    <a:lnTo>
                      <a:pt x="340" y="288"/>
                    </a:lnTo>
                    <a:lnTo>
                      <a:pt x="340" y="299"/>
                    </a:lnTo>
                    <a:lnTo>
                      <a:pt x="354" y="307"/>
                    </a:lnTo>
                    <a:lnTo>
                      <a:pt x="353" y="320"/>
                    </a:lnTo>
                    <a:lnTo>
                      <a:pt x="421" y="305"/>
                    </a:lnTo>
                    <a:lnTo>
                      <a:pt x="437" y="320"/>
                    </a:lnTo>
                    <a:lnTo>
                      <a:pt x="450" y="309"/>
                    </a:lnTo>
                    <a:lnTo>
                      <a:pt x="470" y="299"/>
                    </a:lnTo>
                    <a:lnTo>
                      <a:pt x="478" y="278"/>
                    </a:lnTo>
                    <a:lnTo>
                      <a:pt x="491" y="272"/>
                    </a:lnTo>
                    <a:lnTo>
                      <a:pt x="510" y="265"/>
                    </a:lnTo>
                    <a:lnTo>
                      <a:pt x="539" y="258"/>
                    </a:lnTo>
                    <a:lnTo>
                      <a:pt x="566" y="245"/>
                    </a:lnTo>
                    <a:lnTo>
                      <a:pt x="571" y="231"/>
                    </a:lnTo>
                    <a:lnTo>
                      <a:pt x="559" y="229"/>
                    </a:lnTo>
                    <a:lnTo>
                      <a:pt x="554" y="213"/>
                    </a:lnTo>
                    <a:lnTo>
                      <a:pt x="560" y="204"/>
                    </a:lnTo>
                    <a:lnTo>
                      <a:pt x="548" y="186"/>
                    </a:lnTo>
                    <a:lnTo>
                      <a:pt x="516" y="183"/>
                    </a:lnTo>
                    <a:lnTo>
                      <a:pt x="509" y="174"/>
                    </a:lnTo>
                    <a:lnTo>
                      <a:pt x="493" y="173"/>
                    </a:lnTo>
                    <a:lnTo>
                      <a:pt x="493" y="157"/>
                    </a:lnTo>
                    <a:lnTo>
                      <a:pt x="504" y="139"/>
                    </a:lnTo>
                    <a:lnTo>
                      <a:pt x="514" y="121"/>
                    </a:lnTo>
                    <a:lnTo>
                      <a:pt x="491" y="107"/>
                    </a:lnTo>
                    <a:lnTo>
                      <a:pt x="490" y="97"/>
                    </a:lnTo>
                    <a:lnTo>
                      <a:pt x="460" y="88"/>
                    </a:lnTo>
                    <a:lnTo>
                      <a:pt x="466" y="56"/>
                    </a:lnTo>
                    <a:lnTo>
                      <a:pt x="458" y="44"/>
                    </a:lnTo>
                    <a:lnTo>
                      <a:pt x="447" y="41"/>
                    </a:lnTo>
                    <a:lnTo>
                      <a:pt x="441" y="28"/>
                    </a:lnTo>
                    <a:lnTo>
                      <a:pt x="426" y="17"/>
                    </a:lnTo>
                    <a:lnTo>
                      <a:pt x="409" y="5"/>
                    </a:lnTo>
                    <a:lnTo>
                      <a:pt x="384" y="6"/>
                    </a:lnTo>
                    <a:lnTo>
                      <a:pt x="361" y="1"/>
                    </a:lnTo>
                    <a:lnTo>
                      <a:pt x="334" y="0"/>
                    </a:lnTo>
                    <a:lnTo>
                      <a:pt x="320" y="6"/>
                    </a:lnTo>
                    <a:lnTo>
                      <a:pt x="311" y="27"/>
                    </a:lnTo>
                    <a:lnTo>
                      <a:pt x="292" y="37"/>
                    </a:lnTo>
                    <a:lnTo>
                      <a:pt x="287" y="51"/>
                    </a:lnTo>
                    <a:lnTo>
                      <a:pt x="283" y="67"/>
                    </a:lnTo>
                    <a:lnTo>
                      <a:pt x="269" y="67"/>
                    </a:lnTo>
                    <a:lnTo>
                      <a:pt x="251" y="69"/>
                    </a:lnTo>
                    <a:lnTo>
                      <a:pt x="232" y="40"/>
                    </a:lnTo>
                    <a:lnTo>
                      <a:pt x="215" y="41"/>
                    </a:lnTo>
                    <a:lnTo>
                      <a:pt x="194" y="26"/>
                    </a:lnTo>
                    <a:lnTo>
                      <a:pt x="174" y="34"/>
                    </a:lnTo>
                    <a:lnTo>
                      <a:pt x="168" y="44"/>
                    </a:lnTo>
                    <a:lnTo>
                      <a:pt x="146" y="50"/>
                    </a:lnTo>
                    <a:lnTo>
                      <a:pt x="133" y="44"/>
                    </a:lnTo>
                    <a:lnTo>
                      <a:pt x="111" y="36"/>
                    </a:lnTo>
                    <a:lnTo>
                      <a:pt x="99" y="39"/>
                    </a:lnTo>
                    <a:lnTo>
                      <a:pt x="85" y="35"/>
                    </a:lnTo>
                    <a:lnTo>
                      <a:pt x="59" y="4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7" name="Freeform 40"/>
              <p:cNvSpPr>
                <a:spLocks/>
              </p:cNvSpPr>
              <p:nvPr/>
            </p:nvSpPr>
            <p:spPr bwMode="auto">
              <a:xfrm>
                <a:off x="932" y="2974"/>
                <a:ext cx="311" cy="306"/>
              </a:xfrm>
              <a:custGeom>
                <a:avLst/>
                <a:gdLst>
                  <a:gd name="T0" fmla="*/ 311 w 311"/>
                  <a:gd name="T1" fmla="*/ 288 h 306"/>
                  <a:gd name="T2" fmla="*/ 309 w 311"/>
                  <a:gd name="T3" fmla="*/ 282 h 306"/>
                  <a:gd name="T4" fmla="*/ 278 w 311"/>
                  <a:gd name="T5" fmla="*/ 266 h 306"/>
                  <a:gd name="T6" fmla="*/ 276 w 311"/>
                  <a:gd name="T7" fmla="*/ 255 h 306"/>
                  <a:gd name="T8" fmla="*/ 283 w 311"/>
                  <a:gd name="T9" fmla="*/ 240 h 306"/>
                  <a:gd name="T10" fmla="*/ 281 w 311"/>
                  <a:gd name="T11" fmla="*/ 221 h 306"/>
                  <a:gd name="T12" fmla="*/ 282 w 311"/>
                  <a:gd name="T13" fmla="*/ 211 h 306"/>
                  <a:gd name="T14" fmla="*/ 294 w 311"/>
                  <a:gd name="T15" fmla="*/ 205 h 306"/>
                  <a:gd name="T16" fmla="*/ 298 w 311"/>
                  <a:gd name="T17" fmla="*/ 199 h 306"/>
                  <a:gd name="T18" fmla="*/ 280 w 311"/>
                  <a:gd name="T19" fmla="*/ 198 h 306"/>
                  <a:gd name="T20" fmla="*/ 279 w 311"/>
                  <a:gd name="T21" fmla="*/ 181 h 306"/>
                  <a:gd name="T22" fmla="*/ 285 w 311"/>
                  <a:gd name="T23" fmla="*/ 170 h 306"/>
                  <a:gd name="T24" fmla="*/ 276 w 311"/>
                  <a:gd name="T25" fmla="*/ 153 h 306"/>
                  <a:gd name="T26" fmla="*/ 257 w 311"/>
                  <a:gd name="T27" fmla="*/ 149 h 306"/>
                  <a:gd name="T28" fmla="*/ 255 w 311"/>
                  <a:gd name="T29" fmla="*/ 135 h 306"/>
                  <a:gd name="T30" fmla="*/ 220 w 311"/>
                  <a:gd name="T31" fmla="*/ 127 h 306"/>
                  <a:gd name="T32" fmla="*/ 219 w 311"/>
                  <a:gd name="T33" fmla="*/ 80 h 306"/>
                  <a:gd name="T34" fmla="*/ 230 w 311"/>
                  <a:gd name="T35" fmla="*/ 60 h 306"/>
                  <a:gd name="T36" fmla="*/ 221 w 311"/>
                  <a:gd name="T37" fmla="*/ 49 h 306"/>
                  <a:gd name="T38" fmla="*/ 214 w 311"/>
                  <a:gd name="T39" fmla="*/ 53 h 306"/>
                  <a:gd name="T40" fmla="*/ 199 w 311"/>
                  <a:gd name="T41" fmla="*/ 58 h 306"/>
                  <a:gd name="T42" fmla="*/ 183 w 311"/>
                  <a:gd name="T43" fmla="*/ 62 h 306"/>
                  <a:gd name="T44" fmla="*/ 160 w 311"/>
                  <a:gd name="T45" fmla="*/ 58 h 306"/>
                  <a:gd name="T46" fmla="*/ 151 w 311"/>
                  <a:gd name="T47" fmla="*/ 51 h 306"/>
                  <a:gd name="T48" fmla="*/ 153 w 311"/>
                  <a:gd name="T49" fmla="*/ 37 h 306"/>
                  <a:gd name="T50" fmla="*/ 161 w 311"/>
                  <a:gd name="T51" fmla="*/ 25 h 306"/>
                  <a:gd name="T52" fmla="*/ 160 w 311"/>
                  <a:gd name="T53" fmla="*/ 12 h 306"/>
                  <a:gd name="T54" fmla="*/ 142 w 311"/>
                  <a:gd name="T55" fmla="*/ 3 h 306"/>
                  <a:gd name="T56" fmla="*/ 115 w 311"/>
                  <a:gd name="T57" fmla="*/ 2 h 306"/>
                  <a:gd name="T58" fmla="*/ 90 w 311"/>
                  <a:gd name="T59" fmla="*/ 0 h 306"/>
                  <a:gd name="T60" fmla="*/ 76 w 311"/>
                  <a:gd name="T61" fmla="*/ 15 h 306"/>
                  <a:gd name="T62" fmla="*/ 63 w 311"/>
                  <a:gd name="T63" fmla="*/ 12 h 306"/>
                  <a:gd name="T64" fmla="*/ 44 w 311"/>
                  <a:gd name="T65" fmla="*/ 35 h 306"/>
                  <a:gd name="T66" fmla="*/ 40 w 311"/>
                  <a:gd name="T67" fmla="*/ 47 h 306"/>
                  <a:gd name="T68" fmla="*/ 36 w 311"/>
                  <a:gd name="T69" fmla="*/ 59 h 306"/>
                  <a:gd name="T70" fmla="*/ 35 w 311"/>
                  <a:gd name="T71" fmla="*/ 68 h 306"/>
                  <a:gd name="T72" fmla="*/ 24 w 311"/>
                  <a:gd name="T73" fmla="*/ 73 h 306"/>
                  <a:gd name="T74" fmla="*/ 36 w 311"/>
                  <a:gd name="T75" fmla="*/ 84 h 306"/>
                  <a:gd name="T76" fmla="*/ 1 w 311"/>
                  <a:gd name="T77" fmla="*/ 92 h 306"/>
                  <a:gd name="T78" fmla="*/ 5 w 311"/>
                  <a:gd name="T79" fmla="*/ 103 h 306"/>
                  <a:gd name="T80" fmla="*/ 0 w 311"/>
                  <a:gd name="T81" fmla="*/ 132 h 306"/>
                  <a:gd name="T82" fmla="*/ 28 w 311"/>
                  <a:gd name="T83" fmla="*/ 141 h 306"/>
                  <a:gd name="T84" fmla="*/ 30 w 311"/>
                  <a:gd name="T85" fmla="*/ 152 h 306"/>
                  <a:gd name="T86" fmla="*/ 53 w 311"/>
                  <a:gd name="T87" fmla="*/ 167 h 306"/>
                  <a:gd name="T88" fmla="*/ 33 w 311"/>
                  <a:gd name="T89" fmla="*/ 202 h 306"/>
                  <a:gd name="T90" fmla="*/ 35 w 311"/>
                  <a:gd name="T91" fmla="*/ 217 h 306"/>
                  <a:gd name="T92" fmla="*/ 48 w 311"/>
                  <a:gd name="T93" fmla="*/ 216 h 306"/>
                  <a:gd name="T94" fmla="*/ 55 w 311"/>
                  <a:gd name="T95" fmla="*/ 225 h 306"/>
                  <a:gd name="T96" fmla="*/ 85 w 311"/>
                  <a:gd name="T97" fmla="*/ 231 h 306"/>
                  <a:gd name="T98" fmla="*/ 98 w 311"/>
                  <a:gd name="T99" fmla="*/ 247 h 306"/>
                  <a:gd name="T100" fmla="*/ 93 w 311"/>
                  <a:gd name="T101" fmla="*/ 257 h 306"/>
                  <a:gd name="T102" fmla="*/ 98 w 311"/>
                  <a:gd name="T103" fmla="*/ 274 h 306"/>
                  <a:gd name="T104" fmla="*/ 110 w 311"/>
                  <a:gd name="T105" fmla="*/ 276 h 306"/>
                  <a:gd name="T106" fmla="*/ 153 w 311"/>
                  <a:gd name="T107" fmla="*/ 273 h 306"/>
                  <a:gd name="T108" fmla="*/ 167 w 311"/>
                  <a:gd name="T109" fmla="*/ 280 h 306"/>
                  <a:gd name="T110" fmla="*/ 172 w 311"/>
                  <a:gd name="T111" fmla="*/ 295 h 306"/>
                  <a:gd name="T112" fmla="*/ 209 w 311"/>
                  <a:gd name="T113" fmla="*/ 301 h 306"/>
                  <a:gd name="T114" fmla="*/ 237 w 311"/>
                  <a:gd name="T115" fmla="*/ 306 h 306"/>
                  <a:gd name="T116" fmla="*/ 261 w 311"/>
                  <a:gd name="T117" fmla="*/ 301 h 306"/>
                  <a:gd name="T118" fmla="*/ 274 w 311"/>
                  <a:gd name="T119" fmla="*/ 288 h 306"/>
                  <a:gd name="T120" fmla="*/ 293 w 311"/>
                  <a:gd name="T121" fmla="*/ 292 h 306"/>
                  <a:gd name="T122" fmla="*/ 311 w 311"/>
                  <a:gd name="T123" fmla="*/ 288 h 3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1"/>
                  <a:gd name="T187" fmla="*/ 0 h 306"/>
                  <a:gd name="T188" fmla="*/ 311 w 311"/>
                  <a:gd name="T189" fmla="*/ 306 h 30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1" h="306">
                    <a:moveTo>
                      <a:pt x="311" y="288"/>
                    </a:moveTo>
                    <a:cubicBezTo>
                      <a:pt x="310" y="286"/>
                      <a:pt x="309" y="282"/>
                      <a:pt x="309" y="282"/>
                    </a:cubicBezTo>
                    <a:lnTo>
                      <a:pt x="278" y="266"/>
                    </a:lnTo>
                    <a:lnTo>
                      <a:pt x="276" y="255"/>
                    </a:lnTo>
                    <a:lnTo>
                      <a:pt x="283" y="240"/>
                    </a:lnTo>
                    <a:lnTo>
                      <a:pt x="281" y="221"/>
                    </a:lnTo>
                    <a:lnTo>
                      <a:pt x="282" y="211"/>
                    </a:lnTo>
                    <a:lnTo>
                      <a:pt x="294" y="205"/>
                    </a:lnTo>
                    <a:lnTo>
                      <a:pt x="298" y="199"/>
                    </a:lnTo>
                    <a:lnTo>
                      <a:pt x="280" y="198"/>
                    </a:lnTo>
                    <a:lnTo>
                      <a:pt x="279" y="181"/>
                    </a:lnTo>
                    <a:lnTo>
                      <a:pt x="285" y="170"/>
                    </a:lnTo>
                    <a:lnTo>
                      <a:pt x="276" y="153"/>
                    </a:lnTo>
                    <a:lnTo>
                      <a:pt x="257" y="149"/>
                    </a:lnTo>
                    <a:lnTo>
                      <a:pt x="255" y="135"/>
                    </a:lnTo>
                    <a:lnTo>
                      <a:pt x="220" y="127"/>
                    </a:lnTo>
                    <a:lnTo>
                      <a:pt x="219" y="80"/>
                    </a:lnTo>
                    <a:lnTo>
                      <a:pt x="230" y="60"/>
                    </a:lnTo>
                    <a:cubicBezTo>
                      <a:pt x="227" y="56"/>
                      <a:pt x="226" y="51"/>
                      <a:pt x="221" y="49"/>
                    </a:cubicBezTo>
                    <a:cubicBezTo>
                      <a:pt x="219" y="48"/>
                      <a:pt x="214" y="53"/>
                      <a:pt x="214" y="53"/>
                    </a:cubicBezTo>
                    <a:lnTo>
                      <a:pt x="199" y="58"/>
                    </a:lnTo>
                    <a:lnTo>
                      <a:pt x="183" y="62"/>
                    </a:lnTo>
                    <a:lnTo>
                      <a:pt x="160" y="58"/>
                    </a:lnTo>
                    <a:lnTo>
                      <a:pt x="151" y="51"/>
                    </a:lnTo>
                    <a:lnTo>
                      <a:pt x="153" y="37"/>
                    </a:lnTo>
                    <a:lnTo>
                      <a:pt x="161" y="25"/>
                    </a:lnTo>
                    <a:lnTo>
                      <a:pt x="160" y="12"/>
                    </a:lnTo>
                    <a:lnTo>
                      <a:pt x="142" y="3"/>
                    </a:lnTo>
                    <a:lnTo>
                      <a:pt x="115" y="2"/>
                    </a:lnTo>
                    <a:lnTo>
                      <a:pt x="90" y="0"/>
                    </a:lnTo>
                    <a:lnTo>
                      <a:pt x="76" y="15"/>
                    </a:lnTo>
                    <a:lnTo>
                      <a:pt x="63" y="12"/>
                    </a:lnTo>
                    <a:lnTo>
                      <a:pt x="44" y="35"/>
                    </a:lnTo>
                    <a:lnTo>
                      <a:pt x="40" y="47"/>
                    </a:lnTo>
                    <a:lnTo>
                      <a:pt x="36" y="59"/>
                    </a:lnTo>
                    <a:lnTo>
                      <a:pt x="35" y="68"/>
                    </a:lnTo>
                    <a:lnTo>
                      <a:pt x="24" y="73"/>
                    </a:lnTo>
                    <a:lnTo>
                      <a:pt x="36" y="84"/>
                    </a:lnTo>
                    <a:lnTo>
                      <a:pt x="1" y="92"/>
                    </a:lnTo>
                    <a:lnTo>
                      <a:pt x="5" y="103"/>
                    </a:lnTo>
                    <a:lnTo>
                      <a:pt x="0" y="132"/>
                    </a:lnTo>
                    <a:lnTo>
                      <a:pt x="28" y="141"/>
                    </a:lnTo>
                    <a:lnTo>
                      <a:pt x="30" y="152"/>
                    </a:lnTo>
                    <a:lnTo>
                      <a:pt x="53" y="167"/>
                    </a:lnTo>
                    <a:lnTo>
                      <a:pt x="33" y="202"/>
                    </a:lnTo>
                    <a:lnTo>
                      <a:pt x="35" y="217"/>
                    </a:lnTo>
                    <a:lnTo>
                      <a:pt x="48" y="216"/>
                    </a:lnTo>
                    <a:lnTo>
                      <a:pt x="55" y="225"/>
                    </a:lnTo>
                    <a:lnTo>
                      <a:pt x="85" y="231"/>
                    </a:lnTo>
                    <a:lnTo>
                      <a:pt x="98" y="247"/>
                    </a:lnTo>
                    <a:lnTo>
                      <a:pt x="93" y="257"/>
                    </a:lnTo>
                    <a:lnTo>
                      <a:pt x="98" y="274"/>
                    </a:lnTo>
                    <a:lnTo>
                      <a:pt x="110" y="276"/>
                    </a:lnTo>
                    <a:lnTo>
                      <a:pt x="153" y="273"/>
                    </a:lnTo>
                    <a:lnTo>
                      <a:pt x="167" y="280"/>
                    </a:lnTo>
                    <a:lnTo>
                      <a:pt x="172" y="295"/>
                    </a:lnTo>
                    <a:lnTo>
                      <a:pt x="209" y="301"/>
                    </a:lnTo>
                    <a:lnTo>
                      <a:pt x="237" y="306"/>
                    </a:lnTo>
                    <a:lnTo>
                      <a:pt x="261" y="301"/>
                    </a:lnTo>
                    <a:lnTo>
                      <a:pt x="274" y="288"/>
                    </a:lnTo>
                    <a:lnTo>
                      <a:pt x="293" y="292"/>
                    </a:lnTo>
                    <a:lnTo>
                      <a:pt x="311" y="28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8" name="Freeform 41"/>
              <p:cNvSpPr>
                <a:spLocks/>
              </p:cNvSpPr>
              <p:nvPr/>
            </p:nvSpPr>
            <p:spPr bwMode="auto">
              <a:xfrm>
                <a:off x="1151" y="2907"/>
                <a:ext cx="477" cy="405"/>
              </a:xfrm>
              <a:custGeom>
                <a:avLst/>
                <a:gdLst>
                  <a:gd name="T0" fmla="*/ 469 w 477"/>
                  <a:gd name="T1" fmla="*/ 315 h 405"/>
                  <a:gd name="T2" fmla="*/ 420 w 477"/>
                  <a:gd name="T3" fmla="*/ 279 h 405"/>
                  <a:gd name="T4" fmla="*/ 409 w 477"/>
                  <a:gd name="T5" fmla="*/ 268 h 405"/>
                  <a:gd name="T6" fmla="*/ 424 w 477"/>
                  <a:gd name="T7" fmla="*/ 256 h 405"/>
                  <a:gd name="T8" fmla="*/ 429 w 477"/>
                  <a:gd name="T9" fmla="*/ 219 h 405"/>
                  <a:gd name="T10" fmla="*/ 372 w 477"/>
                  <a:gd name="T11" fmla="*/ 214 h 405"/>
                  <a:gd name="T12" fmla="*/ 357 w 477"/>
                  <a:gd name="T13" fmla="*/ 187 h 405"/>
                  <a:gd name="T14" fmla="*/ 334 w 477"/>
                  <a:gd name="T15" fmla="*/ 180 h 405"/>
                  <a:gd name="T16" fmla="*/ 320 w 477"/>
                  <a:gd name="T17" fmla="*/ 166 h 405"/>
                  <a:gd name="T18" fmla="*/ 265 w 477"/>
                  <a:gd name="T19" fmla="*/ 125 h 405"/>
                  <a:gd name="T20" fmla="*/ 273 w 477"/>
                  <a:gd name="T21" fmla="*/ 91 h 405"/>
                  <a:gd name="T22" fmla="*/ 233 w 477"/>
                  <a:gd name="T23" fmla="*/ 59 h 405"/>
                  <a:gd name="T24" fmla="*/ 233 w 477"/>
                  <a:gd name="T25" fmla="*/ 34 h 405"/>
                  <a:gd name="T26" fmla="*/ 183 w 477"/>
                  <a:gd name="T27" fmla="*/ 18 h 405"/>
                  <a:gd name="T28" fmla="*/ 127 w 477"/>
                  <a:gd name="T29" fmla="*/ 2 h 405"/>
                  <a:gd name="T30" fmla="*/ 93 w 477"/>
                  <a:gd name="T31" fmla="*/ 16 h 405"/>
                  <a:gd name="T32" fmla="*/ 35 w 477"/>
                  <a:gd name="T33" fmla="*/ 82 h 405"/>
                  <a:gd name="T34" fmla="*/ 4 w 477"/>
                  <a:gd name="T35" fmla="*/ 117 h 405"/>
                  <a:gd name="T36" fmla="*/ 0 w 477"/>
                  <a:gd name="T37" fmla="*/ 149 h 405"/>
                  <a:gd name="T38" fmla="*/ 33 w 477"/>
                  <a:gd name="T39" fmla="*/ 201 h 405"/>
                  <a:gd name="T40" fmla="*/ 57 w 477"/>
                  <a:gd name="T41" fmla="*/ 219 h 405"/>
                  <a:gd name="T42" fmla="*/ 59 w 477"/>
                  <a:gd name="T43" fmla="*/ 247 h 405"/>
                  <a:gd name="T44" fmla="*/ 75 w 477"/>
                  <a:gd name="T45" fmla="*/ 266 h 405"/>
                  <a:gd name="T46" fmla="*/ 63 w 477"/>
                  <a:gd name="T47" fmla="*/ 305 h 405"/>
                  <a:gd name="T48" fmla="*/ 59 w 477"/>
                  <a:gd name="T49" fmla="*/ 332 h 405"/>
                  <a:gd name="T50" fmla="*/ 94 w 477"/>
                  <a:gd name="T51" fmla="*/ 355 h 405"/>
                  <a:gd name="T52" fmla="*/ 135 w 477"/>
                  <a:gd name="T53" fmla="*/ 379 h 405"/>
                  <a:gd name="T54" fmla="*/ 210 w 477"/>
                  <a:gd name="T55" fmla="*/ 405 h 405"/>
                  <a:gd name="T56" fmla="*/ 245 w 477"/>
                  <a:gd name="T57" fmla="*/ 383 h 405"/>
                  <a:gd name="T58" fmla="*/ 267 w 477"/>
                  <a:gd name="T59" fmla="*/ 390 h 405"/>
                  <a:gd name="T60" fmla="*/ 300 w 477"/>
                  <a:gd name="T61" fmla="*/ 360 h 405"/>
                  <a:gd name="T62" fmla="*/ 322 w 477"/>
                  <a:gd name="T63" fmla="*/ 354 h 405"/>
                  <a:gd name="T64" fmla="*/ 355 w 477"/>
                  <a:gd name="T65" fmla="*/ 393 h 405"/>
                  <a:gd name="T66" fmla="*/ 385 w 477"/>
                  <a:gd name="T67" fmla="*/ 366 h 405"/>
                  <a:gd name="T68" fmla="*/ 423 w 477"/>
                  <a:gd name="T69" fmla="*/ 347 h 405"/>
                  <a:gd name="T70" fmla="*/ 475 w 477"/>
                  <a:gd name="T71" fmla="*/ 352 h 40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405"/>
                  <a:gd name="T110" fmla="*/ 477 w 477"/>
                  <a:gd name="T111" fmla="*/ 405 h 40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405">
                    <a:moveTo>
                      <a:pt x="477" y="343"/>
                    </a:moveTo>
                    <a:lnTo>
                      <a:pt x="469" y="315"/>
                    </a:lnTo>
                    <a:lnTo>
                      <a:pt x="454" y="304"/>
                    </a:lnTo>
                    <a:lnTo>
                      <a:pt x="420" y="279"/>
                    </a:lnTo>
                    <a:lnTo>
                      <a:pt x="409" y="276"/>
                    </a:lnTo>
                    <a:lnTo>
                      <a:pt x="409" y="268"/>
                    </a:lnTo>
                    <a:lnTo>
                      <a:pt x="415" y="260"/>
                    </a:lnTo>
                    <a:lnTo>
                      <a:pt x="424" y="256"/>
                    </a:lnTo>
                    <a:lnTo>
                      <a:pt x="433" y="231"/>
                    </a:lnTo>
                    <a:lnTo>
                      <a:pt x="429" y="219"/>
                    </a:lnTo>
                    <a:lnTo>
                      <a:pt x="416" y="210"/>
                    </a:lnTo>
                    <a:lnTo>
                      <a:pt x="372" y="214"/>
                    </a:lnTo>
                    <a:lnTo>
                      <a:pt x="380" y="188"/>
                    </a:lnTo>
                    <a:lnTo>
                      <a:pt x="357" y="187"/>
                    </a:lnTo>
                    <a:lnTo>
                      <a:pt x="340" y="192"/>
                    </a:lnTo>
                    <a:lnTo>
                      <a:pt x="334" y="180"/>
                    </a:lnTo>
                    <a:lnTo>
                      <a:pt x="314" y="178"/>
                    </a:lnTo>
                    <a:lnTo>
                      <a:pt x="320" y="166"/>
                    </a:lnTo>
                    <a:lnTo>
                      <a:pt x="293" y="130"/>
                    </a:lnTo>
                    <a:lnTo>
                      <a:pt x="265" y="125"/>
                    </a:lnTo>
                    <a:lnTo>
                      <a:pt x="275" y="117"/>
                    </a:lnTo>
                    <a:lnTo>
                      <a:pt x="273" y="91"/>
                    </a:lnTo>
                    <a:lnTo>
                      <a:pt x="247" y="73"/>
                    </a:lnTo>
                    <a:lnTo>
                      <a:pt x="233" y="59"/>
                    </a:lnTo>
                    <a:lnTo>
                      <a:pt x="233" y="48"/>
                    </a:lnTo>
                    <a:lnTo>
                      <a:pt x="233" y="34"/>
                    </a:lnTo>
                    <a:lnTo>
                      <a:pt x="202" y="24"/>
                    </a:lnTo>
                    <a:lnTo>
                      <a:pt x="183" y="18"/>
                    </a:lnTo>
                    <a:lnTo>
                      <a:pt x="157" y="12"/>
                    </a:lnTo>
                    <a:lnTo>
                      <a:pt x="127" y="2"/>
                    </a:lnTo>
                    <a:lnTo>
                      <a:pt x="101" y="0"/>
                    </a:lnTo>
                    <a:lnTo>
                      <a:pt x="93" y="16"/>
                    </a:lnTo>
                    <a:lnTo>
                      <a:pt x="71" y="48"/>
                    </a:lnTo>
                    <a:lnTo>
                      <a:pt x="35" y="82"/>
                    </a:lnTo>
                    <a:lnTo>
                      <a:pt x="9" y="92"/>
                    </a:lnTo>
                    <a:lnTo>
                      <a:pt x="4" y="117"/>
                    </a:lnTo>
                    <a:lnTo>
                      <a:pt x="12" y="129"/>
                    </a:lnTo>
                    <a:lnTo>
                      <a:pt x="0" y="149"/>
                    </a:lnTo>
                    <a:lnTo>
                      <a:pt x="0" y="195"/>
                    </a:lnTo>
                    <a:lnTo>
                      <a:pt x="33" y="201"/>
                    </a:lnTo>
                    <a:lnTo>
                      <a:pt x="38" y="213"/>
                    </a:lnTo>
                    <a:lnTo>
                      <a:pt x="57" y="219"/>
                    </a:lnTo>
                    <a:lnTo>
                      <a:pt x="66" y="237"/>
                    </a:lnTo>
                    <a:lnTo>
                      <a:pt x="59" y="247"/>
                    </a:lnTo>
                    <a:lnTo>
                      <a:pt x="61" y="263"/>
                    </a:lnTo>
                    <a:lnTo>
                      <a:pt x="75" y="266"/>
                    </a:lnTo>
                    <a:lnTo>
                      <a:pt x="61" y="278"/>
                    </a:lnTo>
                    <a:lnTo>
                      <a:pt x="63" y="305"/>
                    </a:lnTo>
                    <a:lnTo>
                      <a:pt x="56" y="322"/>
                    </a:lnTo>
                    <a:lnTo>
                      <a:pt x="59" y="332"/>
                    </a:lnTo>
                    <a:lnTo>
                      <a:pt x="91" y="348"/>
                    </a:lnTo>
                    <a:lnTo>
                      <a:pt x="94" y="355"/>
                    </a:lnTo>
                    <a:lnTo>
                      <a:pt x="116" y="349"/>
                    </a:lnTo>
                    <a:lnTo>
                      <a:pt x="135" y="379"/>
                    </a:lnTo>
                    <a:lnTo>
                      <a:pt x="176" y="389"/>
                    </a:lnTo>
                    <a:lnTo>
                      <a:pt x="210" y="405"/>
                    </a:lnTo>
                    <a:lnTo>
                      <a:pt x="220" y="391"/>
                    </a:lnTo>
                    <a:lnTo>
                      <a:pt x="245" y="383"/>
                    </a:lnTo>
                    <a:lnTo>
                      <a:pt x="259" y="398"/>
                    </a:lnTo>
                    <a:lnTo>
                      <a:pt x="267" y="390"/>
                    </a:lnTo>
                    <a:lnTo>
                      <a:pt x="279" y="388"/>
                    </a:lnTo>
                    <a:lnTo>
                      <a:pt x="300" y="360"/>
                    </a:lnTo>
                    <a:lnTo>
                      <a:pt x="299" y="342"/>
                    </a:lnTo>
                    <a:lnTo>
                      <a:pt x="322" y="354"/>
                    </a:lnTo>
                    <a:lnTo>
                      <a:pt x="328" y="388"/>
                    </a:lnTo>
                    <a:lnTo>
                      <a:pt x="355" y="393"/>
                    </a:lnTo>
                    <a:lnTo>
                      <a:pt x="368" y="366"/>
                    </a:lnTo>
                    <a:lnTo>
                      <a:pt x="385" y="366"/>
                    </a:lnTo>
                    <a:lnTo>
                      <a:pt x="393" y="348"/>
                    </a:lnTo>
                    <a:lnTo>
                      <a:pt x="423" y="347"/>
                    </a:lnTo>
                    <a:lnTo>
                      <a:pt x="429" y="368"/>
                    </a:lnTo>
                    <a:lnTo>
                      <a:pt x="475" y="352"/>
                    </a:lnTo>
                    <a:lnTo>
                      <a:pt x="477" y="34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9" name="Freeform 42"/>
              <p:cNvSpPr>
                <a:spLocks/>
              </p:cNvSpPr>
              <p:nvPr/>
            </p:nvSpPr>
            <p:spPr bwMode="auto">
              <a:xfrm>
                <a:off x="1256" y="3249"/>
                <a:ext cx="327" cy="323"/>
              </a:xfrm>
              <a:custGeom>
                <a:avLst/>
                <a:gdLst>
                  <a:gd name="T0" fmla="*/ 0 w 819"/>
                  <a:gd name="T1" fmla="*/ 0 h 990"/>
                  <a:gd name="T2" fmla="*/ 0 w 819"/>
                  <a:gd name="T3" fmla="*/ 0 h 990"/>
                  <a:gd name="T4" fmla="*/ 0 w 819"/>
                  <a:gd name="T5" fmla="*/ 0 h 990"/>
                  <a:gd name="T6" fmla="*/ 0 w 819"/>
                  <a:gd name="T7" fmla="*/ 0 h 990"/>
                  <a:gd name="T8" fmla="*/ 0 w 819"/>
                  <a:gd name="T9" fmla="*/ 0 h 990"/>
                  <a:gd name="T10" fmla="*/ 0 w 819"/>
                  <a:gd name="T11" fmla="*/ 0 h 990"/>
                  <a:gd name="T12" fmla="*/ 0 w 819"/>
                  <a:gd name="T13" fmla="*/ 0 h 990"/>
                  <a:gd name="T14" fmla="*/ 0 w 819"/>
                  <a:gd name="T15" fmla="*/ 0 h 990"/>
                  <a:gd name="T16" fmla="*/ 0 w 819"/>
                  <a:gd name="T17" fmla="*/ 0 h 990"/>
                  <a:gd name="T18" fmla="*/ 0 w 819"/>
                  <a:gd name="T19" fmla="*/ 0 h 990"/>
                  <a:gd name="T20" fmla="*/ 0 w 819"/>
                  <a:gd name="T21" fmla="*/ 0 h 990"/>
                  <a:gd name="T22" fmla="*/ 0 w 819"/>
                  <a:gd name="T23" fmla="*/ 0 h 990"/>
                  <a:gd name="T24" fmla="*/ 0 w 819"/>
                  <a:gd name="T25" fmla="*/ 0 h 990"/>
                  <a:gd name="T26" fmla="*/ 0 w 819"/>
                  <a:gd name="T27" fmla="*/ 0 h 990"/>
                  <a:gd name="T28" fmla="*/ 0 w 819"/>
                  <a:gd name="T29" fmla="*/ 0 h 990"/>
                  <a:gd name="T30" fmla="*/ 0 w 819"/>
                  <a:gd name="T31" fmla="*/ 0 h 990"/>
                  <a:gd name="T32" fmla="*/ 0 w 819"/>
                  <a:gd name="T33" fmla="*/ 0 h 990"/>
                  <a:gd name="T34" fmla="*/ 0 w 819"/>
                  <a:gd name="T35" fmla="*/ 0 h 990"/>
                  <a:gd name="T36" fmla="*/ 0 w 819"/>
                  <a:gd name="T37" fmla="*/ 0 h 990"/>
                  <a:gd name="T38" fmla="*/ 0 w 819"/>
                  <a:gd name="T39" fmla="*/ 0 h 990"/>
                  <a:gd name="T40" fmla="*/ 0 w 819"/>
                  <a:gd name="T41" fmla="*/ 0 h 990"/>
                  <a:gd name="T42" fmla="*/ 0 w 819"/>
                  <a:gd name="T43" fmla="*/ 0 h 990"/>
                  <a:gd name="T44" fmla="*/ 0 w 819"/>
                  <a:gd name="T45" fmla="*/ 0 h 990"/>
                  <a:gd name="T46" fmla="*/ 0 w 819"/>
                  <a:gd name="T47" fmla="*/ 0 h 990"/>
                  <a:gd name="T48" fmla="*/ 0 w 819"/>
                  <a:gd name="T49" fmla="*/ 0 h 990"/>
                  <a:gd name="T50" fmla="*/ 0 w 819"/>
                  <a:gd name="T51" fmla="*/ 0 h 990"/>
                  <a:gd name="T52" fmla="*/ 0 w 819"/>
                  <a:gd name="T53" fmla="*/ 0 h 990"/>
                  <a:gd name="T54" fmla="*/ 0 w 819"/>
                  <a:gd name="T55" fmla="*/ 0 h 990"/>
                  <a:gd name="T56" fmla="*/ 0 w 819"/>
                  <a:gd name="T57" fmla="*/ 0 h 990"/>
                  <a:gd name="T58" fmla="*/ 0 w 819"/>
                  <a:gd name="T59" fmla="*/ 0 h 990"/>
                  <a:gd name="T60" fmla="*/ 0 w 819"/>
                  <a:gd name="T61" fmla="*/ 0 h 990"/>
                  <a:gd name="T62" fmla="*/ 0 w 819"/>
                  <a:gd name="T63" fmla="*/ 0 h 990"/>
                  <a:gd name="T64" fmla="*/ 0 w 819"/>
                  <a:gd name="T65" fmla="*/ 0 h 990"/>
                  <a:gd name="T66" fmla="*/ 0 w 819"/>
                  <a:gd name="T67" fmla="*/ 0 h 990"/>
                  <a:gd name="T68" fmla="*/ 0 w 819"/>
                  <a:gd name="T69" fmla="*/ 0 h 990"/>
                  <a:gd name="T70" fmla="*/ 0 w 819"/>
                  <a:gd name="T71" fmla="*/ 0 h 990"/>
                  <a:gd name="T72" fmla="*/ 0 w 819"/>
                  <a:gd name="T73" fmla="*/ 0 h 990"/>
                  <a:gd name="T74" fmla="*/ 0 w 819"/>
                  <a:gd name="T75" fmla="*/ 0 h 990"/>
                  <a:gd name="T76" fmla="*/ 0 w 819"/>
                  <a:gd name="T77" fmla="*/ 0 h 990"/>
                  <a:gd name="T78" fmla="*/ 0 w 819"/>
                  <a:gd name="T79" fmla="*/ 0 h 990"/>
                  <a:gd name="T80" fmla="*/ 0 w 819"/>
                  <a:gd name="T81" fmla="*/ 0 h 990"/>
                  <a:gd name="T82" fmla="*/ 0 w 819"/>
                  <a:gd name="T83" fmla="*/ 0 h 990"/>
                  <a:gd name="T84" fmla="*/ 0 w 819"/>
                  <a:gd name="T85" fmla="*/ 0 h 990"/>
                  <a:gd name="T86" fmla="*/ 0 w 819"/>
                  <a:gd name="T87" fmla="*/ 0 h 990"/>
                  <a:gd name="T88" fmla="*/ 0 w 819"/>
                  <a:gd name="T89" fmla="*/ 0 h 990"/>
                  <a:gd name="T90" fmla="*/ 0 w 819"/>
                  <a:gd name="T91" fmla="*/ 0 h 990"/>
                  <a:gd name="T92" fmla="*/ 0 w 819"/>
                  <a:gd name="T93" fmla="*/ 0 h 990"/>
                  <a:gd name="T94" fmla="*/ 0 w 819"/>
                  <a:gd name="T95" fmla="*/ 0 h 990"/>
                  <a:gd name="T96" fmla="*/ 0 w 819"/>
                  <a:gd name="T97" fmla="*/ 0 h 990"/>
                  <a:gd name="T98" fmla="*/ 0 w 819"/>
                  <a:gd name="T99" fmla="*/ 0 h 990"/>
                  <a:gd name="T100" fmla="*/ 0 w 819"/>
                  <a:gd name="T101" fmla="*/ 0 h 990"/>
                  <a:gd name="T102" fmla="*/ 0 w 819"/>
                  <a:gd name="T103" fmla="*/ 0 h 990"/>
                  <a:gd name="T104" fmla="*/ 0 w 819"/>
                  <a:gd name="T105" fmla="*/ 0 h 990"/>
                  <a:gd name="T106" fmla="*/ 0 w 819"/>
                  <a:gd name="T107" fmla="*/ 0 h 990"/>
                  <a:gd name="T108" fmla="*/ 0 w 819"/>
                  <a:gd name="T109" fmla="*/ 0 h 990"/>
                  <a:gd name="T110" fmla="*/ 0 w 819"/>
                  <a:gd name="T111" fmla="*/ 0 h 990"/>
                  <a:gd name="T112" fmla="*/ 0 w 819"/>
                  <a:gd name="T113" fmla="*/ 0 h 990"/>
                  <a:gd name="T114" fmla="*/ 0 w 819"/>
                  <a:gd name="T115" fmla="*/ 0 h 990"/>
                  <a:gd name="T116" fmla="*/ 0 w 819"/>
                  <a:gd name="T117" fmla="*/ 0 h 990"/>
                  <a:gd name="T118" fmla="*/ 0 w 819"/>
                  <a:gd name="T119" fmla="*/ 0 h 990"/>
                  <a:gd name="T120" fmla="*/ 0 w 819"/>
                  <a:gd name="T121" fmla="*/ 0 h 990"/>
                  <a:gd name="T122" fmla="*/ 0 w 819"/>
                  <a:gd name="T123" fmla="*/ 0 h 9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19"/>
                  <a:gd name="T187" fmla="*/ 0 h 990"/>
                  <a:gd name="T188" fmla="*/ 819 w 819"/>
                  <a:gd name="T189" fmla="*/ 990 h 99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19" h="990">
                    <a:moveTo>
                      <a:pt x="675" y="831"/>
                    </a:moveTo>
                    <a:lnTo>
                      <a:pt x="717" y="777"/>
                    </a:lnTo>
                    <a:lnTo>
                      <a:pt x="714" y="729"/>
                    </a:lnTo>
                    <a:lnTo>
                      <a:pt x="678" y="654"/>
                    </a:lnTo>
                    <a:lnTo>
                      <a:pt x="666" y="633"/>
                    </a:lnTo>
                    <a:lnTo>
                      <a:pt x="669" y="600"/>
                    </a:lnTo>
                    <a:lnTo>
                      <a:pt x="720" y="609"/>
                    </a:lnTo>
                    <a:lnTo>
                      <a:pt x="795" y="570"/>
                    </a:lnTo>
                    <a:lnTo>
                      <a:pt x="819" y="540"/>
                    </a:lnTo>
                    <a:lnTo>
                      <a:pt x="819" y="504"/>
                    </a:lnTo>
                    <a:lnTo>
                      <a:pt x="801" y="447"/>
                    </a:lnTo>
                    <a:lnTo>
                      <a:pt x="705" y="405"/>
                    </a:lnTo>
                    <a:lnTo>
                      <a:pt x="669" y="429"/>
                    </a:lnTo>
                    <a:lnTo>
                      <a:pt x="495" y="447"/>
                    </a:lnTo>
                    <a:lnTo>
                      <a:pt x="507" y="399"/>
                    </a:lnTo>
                    <a:lnTo>
                      <a:pt x="651" y="387"/>
                    </a:lnTo>
                    <a:lnTo>
                      <a:pt x="639" y="333"/>
                    </a:lnTo>
                    <a:lnTo>
                      <a:pt x="657" y="228"/>
                    </a:lnTo>
                    <a:lnTo>
                      <a:pt x="624" y="150"/>
                    </a:lnTo>
                    <a:lnTo>
                      <a:pt x="552" y="141"/>
                    </a:lnTo>
                    <a:lnTo>
                      <a:pt x="540" y="30"/>
                    </a:lnTo>
                    <a:lnTo>
                      <a:pt x="486" y="0"/>
                    </a:lnTo>
                    <a:lnTo>
                      <a:pt x="486" y="57"/>
                    </a:lnTo>
                    <a:lnTo>
                      <a:pt x="432" y="147"/>
                    </a:lnTo>
                    <a:lnTo>
                      <a:pt x="402" y="147"/>
                    </a:lnTo>
                    <a:lnTo>
                      <a:pt x="378" y="174"/>
                    </a:lnTo>
                    <a:lnTo>
                      <a:pt x="354" y="120"/>
                    </a:lnTo>
                    <a:lnTo>
                      <a:pt x="285" y="153"/>
                    </a:lnTo>
                    <a:lnTo>
                      <a:pt x="267" y="195"/>
                    </a:lnTo>
                    <a:lnTo>
                      <a:pt x="171" y="141"/>
                    </a:lnTo>
                    <a:lnTo>
                      <a:pt x="117" y="126"/>
                    </a:lnTo>
                    <a:lnTo>
                      <a:pt x="111" y="150"/>
                    </a:lnTo>
                    <a:lnTo>
                      <a:pt x="132" y="162"/>
                    </a:lnTo>
                    <a:lnTo>
                      <a:pt x="129" y="198"/>
                    </a:lnTo>
                    <a:lnTo>
                      <a:pt x="96" y="219"/>
                    </a:lnTo>
                    <a:lnTo>
                      <a:pt x="105" y="312"/>
                    </a:lnTo>
                    <a:lnTo>
                      <a:pt x="138" y="318"/>
                    </a:lnTo>
                    <a:lnTo>
                      <a:pt x="162" y="384"/>
                    </a:lnTo>
                    <a:lnTo>
                      <a:pt x="135" y="411"/>
                    </a:lnTo>
                    <a:lnTo>
                      <a:pt x="114" y="411"/>
                    </a:lnTo>
                    <a:lnTo>
                      <a:pt x="81" y="447"/>
                    </a:lnTo>
                    <a:lnTo>
                      <a:pt x="78" y="495"/>
                    </a:lnTo>
                    <a:lnTo>
                      <a:pt x="12" y="498"/>
                    </a:lnTo>
                    <a:lnTo>
                      <a:pt x="0" y="603"/>
                    </a:lnTo>
                    <a:lnTo>
                      <a:pt x="18" y="678"/>
                    </a:lnTo>
                    <a:lnTo>
                      <a:pt x="78" y="711"/>
                    </a:lnTo>
                    <a:lnTo>
                      <a:pt x="102" y="708"/>
                    </a:lnTo>
                    <a:lnTo>
                      <a:pt x="132" y="789"/>
                    </a:lnTo>
                    <a:lnTo>
                      <a:pt x="147" y="828"/>
                    </a:lnTo>
                    <a:lnTo>
                      <a:pt x="210" y="897"/>
                    </a:lnTo>
                    <a:lnTo>
                      <a:pt x="219" y="951"/>
                    </a:lnTo>
                    <a:lnTo>
                      <a:pt x="249" y="957"/>
                    </a:lnTo>
                    <a:lnTo>
                      <a:pt x="264" y="894"/>
                    </a:lnTo>
                    <a:lnTo>
                      <a:pt x="303" y="867"/>
                    </a:lnTo>
                    <a:lnTo>
                      <a:pt x="360" y="879"/>
                    </a:lnTo>
                    <a:lnTo>
                      <a:pt x="378" y="912"/>
                    </a:lnTo>
                    <a:lnTo>
                      <a:pt x="375" y="948"/>
                    </a:lnTo>
                    <a:lnTo>
                      <a:pt x="411" y="957"/>
                    </a:lnTo>
                    <a:lnTo>
                      <a:pt x="456" y="990"/>
                    </a:lnTo>
                    <a:lnTo>
                      <a:pt x="504" y="954"/>
                    </a:lnTo>
                    <a:lnTo>
                      <a:pt x="564" y="954"/>
                    </a:lnTo>
                    <a:lnTo>
                      <a:pt x="675" y="83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0" name="Freeform 43"/>
              <p:cNvSpPr>
                <a:spLocks/>
              </p:cNvSpPr>
              <p:nvPr/>
            </p:nvSpPr>
            <p:spPr bwMode="auto">
              <a:xfrm>
                <a:off x="939" y="3246"/>
                <a:ext cx="380" cy="344"/>
              </a:xfrm>
              <a:custGeom>
                <a:avLst/>
                <a:gdLst>
                  <a:gd name="T0" fmla="*/ 0 w 954"/>
                  <a:gd name="T1" fmla="*/ 0 h 1053"/>
                  <a:gd name="T2" fmla="*/ 0 w 954"/>
                  <a:gd name="T3" fmla="*/ 0 h 1053"/>
                  <a:gd name="T4" fmla="*/ 0 w 954"/>
                  <a:gd name="T5" fmla="*/ 0 h 1053"/>
                  <a:gd name="T6" fmla="*/ 0 w 954"/>
                  <a:gd name="T7" fmla="*/ 0 h 1053"/>
                  <a:gd name="T8" fmla="*/ 0 w 954"/>
                  <a:gd name="T9" fmla="*/ 0 h 1053"/>
                  <a:gd name="T10" fmla="*/ 0 w 954"/>
                  <a:gd name="T11" fmla="*/ 0 h 1053"/>
                  <a:gd name="T12" fmla="*/ 0 w 954"/>
                  <a:gd name="T13" fmla="*/ 0 h 1053"/>
                  <a:gd name="T14" fmla="*/ 0 w 954"/>
                  <a:gd name="T15" fmla="*/ 0 h 1053"/>
                  <a:gd name="T16" fmla="*/ 0 w 954"/>
                  <a:gd name="T17" fmla="*/ 0 h 1053"/>
                  <a:gd name="T18" fmla="*/ 0 w 954"/>
                  <a:gd name="T19" fmla="*/ 0 h 1053"/>
                  <a:gd name="T20" fmla="*/ 0 w 954"/>
                  <a:gd name="T21" fmla="*/ 0 h 1053"/>
                  <a:gd name="T22" fmla="*/ 0 w 954"/>
                  <a:gd name="T23" fmla="*/ 0 h 1053"/>
                  <a:gd name="T24" fmla="*/ 0 w 954"/>
                  <a:gd name="T25" fmla="*/ 0 h 1053"/>
                  <a:gd name="T26" fmla="*/ 0 w 954"/>
                  <a:gd name="T27" fmla="*/ 0 h 1053"/>
                  <a:gd name="T28" fmla="*/ 0 w 954"/>
                  <a:gd name="T29" fmla="*/ 0 h 1053"/>
                  <a:gd name="T30" fmla="*/ 0 w 954"/>
                  <a:gd name="T31" fmla="*/ 0 h 1053"/>
                  <a:gd name="T32" fmla="*/ 0 w 954"/>
                  <a:gd name="T33" fmla="*/ 0 h 1053"/>
                  <a:gd name="T34" fmla="*/ 0 w 954"/>
                  <a:gd name="T35" fmla="*/ 0 h 1053"/>
                  <a:gd name="T36" fmla="*/ 0 w 954"/>
                  <a:gd name="T37" fmla="*/ 0 h 1053"/>
                  <a:gd name="T38" fmla="*/ 0 w 954"/>
                  <a:gd name="T39" fmla="*/ 0 h 1053"/>
                  <a:gd name="T40" fmla="*/ 0 w 954"/>
                  <a:gd name="T41" fmla="*/ 0 h 1053"/>
                  <a:gd name="T42" fmla="*/ 0 w 954"/>
                  <a:gd name="T43" fmla="*/ 0 h 1053"/>
                  <a:gd name="T44" fmla="*/ 0 w 954"/>
                  <a:gd name="T45" fmla="*/ 0 h 1053"/>
                  <a:gd name="T46" fmla="*/ 0 w 954"/>
                  <a:gd name="T47" fmla="*/ 0 h 1053"/>
                  <a:gd name="T48" fmla="*/ 0 w 954"/>
                  <a:gd name="T49" fmla="*/ 0 h 1053"/>
                  <a:gd name="T50" fmla="*/ 0 w 954"/>
                  <a:gd name="T51" fmla="*/ 0 h 1053"/>
                  <a:gd name="T52" fmla="*/ 0 w 954"/>
                  <a:gd name="T53" fmla="*/ 0 h 1053"/>
                  <a:gd name="T54" fmla="*/ 0 w 954"/>
                  <a:gd name="T55" fmla="*/ 0 h 1053"/>
                  <a:gd name="T56" fmla="*/ 0 w 954"/>
                  <a:gd name="T57" fmla="*/ 0 h 1053"/>
                  <a:gd name="T58" fmla="*/ 0 w 954"/>
                  <a:gd name="T59" fmla="*/ 0 h 1053"/>
                  <a:gd name="T60" fmla="*/ 0 w 954"/>
                  <a:gd name="T61" fmla="*/ 0 h 1053"/>
                  <a:gd name="T62" fmla="*/ 0 w 954"/>
                  <a:gd name="T63" fmla="*/ 0 h 1053"/>
                  <a:gd name="T64" fmla="*/ 0 w 954"/>
                  <a:gd name="T65" fmla="*/ 0 h 1053"/>
                  <a:gd name="T66" fmla="*/ 0 w 954"/>
                  <a:gd name="T67" fmla="*/ 0 h 1053"/>
                  <a:gd name="T68" fmla="*/ 0 w 954"/>
                  <a:gd name="T69" fmla="*/ 0 h 1053"/>
                  <a:gd name="T70" fmla="*/ 0 w 954"/>
                  <a:gd name="T71" fmla="*/ 0 h 1053"/>
                  <a:gd name="T72" fmla="*/ 0 w 954"/>
                  <a:gd name="T73" fmla="*/ 0 h 1053"/>
                  <a:gd name="T74" fmla="*/ 0 w 954"/>
                  <a:gd name="T75" fmla="*/ 0 h 1053"/>
                  <a:gd name="T76" fmla="*/ 0 w 954"/>
                  <a:gd name="T77" fmla="*/ 0 h 105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54"/>
                  <a:gd name="T118" fmla="*/ 0 h 1053"/>
                  <a:gd name="T119" fmla="*/ 954 w 954"/>
                  <a:gd name="T120" fmla="*/ 1053 h 105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54" h="1053">
                    <a:moveTo>
                      <a:pt x="222" y="933"/>
                    </a:moveTo>
                    <a:lnTo>
                      <a:pt x="273" y="954"/>
                    </a:lnTo>
                    <a:lnTo>
                      <a:pt x="294" y="963"/>
                    </a:lnTo>
                    <a:lnTo>
                      <a:pt x="339" y="933"/>
                    </a:lnTo>
                    <a:lnTo>
                      <a:pt x="336" y="900"/>
                    </a:lnTo>
                    <a:lnTo>
                      <a:pt x="438" y="906"/>
                    </a:lnTo>
                    <a:lnTo>
                      <a:pt x="450" y="930"/>
                    </a:lnTo>
                    <a:lnTo>
                      <a:pt x="492" y="933"/>
                    </a:lnTo>
                    <a:lnTo>
                      <a:pt x="513" y="960"/>
                    </a:lnTo>
                    <a:lnTo>
                      <a:pt x="543" y="966"/>
                    </a:lnTo>
                    <a:lnTo>
                      <a:pt x="564" y="900"/>
                    </a:lnTo>
                    <a:lnTo>
                      <a:pt x="591" y="888"/>
                    </a:lnTo>
                    <a:lnTo>
                      <a:pt x="606" y="951"/>
                    </a:lnTo>
                    <a:lnTo>
                      <a:pt x="603" y="1023"/>
                    </a:lnTo>
                    <a:lnTo>
                      <a:pt x="630" y="1023"/>
                    </a:lnTo>
                    <a:lnTo>
                      <a:pt x="666" y="1053"/>
                    </a:lnTo>
                    <a:lnTo>
                      <a:pt x="729" y="1035"/>
                    </a:lnTo>
                    <a:lnTo>
                      <a:pt x="747" y="999"/>
                    </a:lnTo>
                    <a:lnTo>
                      <a:pt x="720" y="987"/>
                    </a:lnTo>
                    <a:lnTo>
                      <a:pt x="744" y="873"/>
                    </a:lnTo>
                    <a:lnTo>
                      <a:pt x="762" y="870"/>
                    </a:lnTo>
                    <a:lnTo>
                      <a:pt x="774" y="900"/>
                    </a:lnTo>
                    <a:lnTo>
                      <a:pt x="798" y="900"/>
                    </a:lnTo>
                    <a:lnTo>
                      <a:pt x="813" y="807"/>
                    </a:lnTo>
                    <a:lnTo>
                      <a:pt x="849" y="774"/>
                    </a:lnTo>
                    <a:lnTo>
                      <a:pt x="906" y="765"/>
                    </a:lnTo>
                    <a:lnTo>
                      <a:pt x="900" y="720"/>
                    </a:lnTo>
                    <a:lnTo>
                      <a:pt x="867" y="723"/>
                    </a:lnTo>
                    <a:lnTo>
                      <a:pt x="807" y="687"/>
                    </a:lnTo>
                    <a:lnTo>
                      <a:pt x="792" y="621"/>
                    </a:lnTo>
                    <a:lnTo>
                      <a:pt x="801" y="504"/>
                    </a:lnTo>
                    <a:lnTo>
                      <a:pt x="864" y="504"/>
                    </a:lnTo>
                    <a:lnTo>
                      <a:pt x="876" y="456"/>
                    </a:lnTo>
                    <a:lnTo>
                      <a:pt x="906" y="414"/>
                    </a:lnTo>
                    <a:lnTo>
                      <a:pt x="924" y="414"/>
                    </a:lnTo>
                    <a:lnTo>
                      <a:pt x="954" y="399"/>
                    </a:lnTo>
                    <a:lnTo>
                      <a:pt x="930" y="330"/>
                    </a:lnTo>
                    <a:lnTo>
                      <a:pt x="897" y="327"/>
                    </a:lnTo>
                    <a:lnTo>
                      <a:pt x="888" y="219"/>
                    </a:lnTo>
                    <a:lnTo>
                      <a:pt x="918" y="204"/>
                    </a:lnTo>
                    <a:lnTo>
                      <a:pt x="921" y="174"/>
                    </a:lnTo>
                    <a:lnTo>
                      <a:pt x="903" y="159"/>
                    </a:lnTo>
                    <a:lnTo>
                      <a:pt x="909" y="132"/>
                    </a:lnTo>
                    <a:lnTo>
                      <a:pt x="867" y="120"/>
                    </a:lnTo>
                    <a:lnTo>
                      <a:pt x="822" y="30"/>
                    </a:lnTo>
                    <a:lnTo>
                      <a:pt x="714" y="57"/>
                    </a:lnTo>
                    <a:lnTo>
                      <a:pt x="666" y="48"/>
                    </a:lnTo>
                    <a:lnTo>
                      <a:pt x="636" y="78"/>
                    </a:lnTo>
                    <a:lnTo>
                      <a:pt x="567" y="102"/>
                    </a:lnTo>
                    <a:lnTo>
                      <a:pt x="411" y="69"/>
                    </a:lnTo>
                    <a:lnTo>
                      <a:pt x="405" y="24"/>
                    </a:lnTo>
                    <a:lnTo>
                      <a:pt x="360" y="0"/>
                    </a:lnTo>
                    <a:lnTo>
                      <a:pt x="252" y="12"/>
                    </a:lnTo>
                    <a:lnTo>
                      <a:pt x="243" y="51"/>
                    </a:lnTo>
                    <a:lnTo>
                      <a:pt x="162" y="93"/>
                    </a:lnTo>
                    <a:lnTo>
                      <a:pt x="60" y="126"/>
                    </a:lnTo>
                    <a:lnTo>
                      <a:pt x="18" y="153"/>
                    </a:lnTo>
                    <a:lnTo>
                      <a:pt x="0" y="225"/>
                    </a:lnTo>
                    <a:lnTo>
                      <a:pt x="54" y="249"/>
                    </a:lnTo>
                    <a:lnTo>
                      <a:pt x="96" y="321"/>
                    </a:lnTo>
                    <a:lnTo>
                      <a:pt x="171" y="339"/>
                    </a:lnTo>
                    <a:lnTo>
                      <a:pt x="192" y="354"/>
                    </a:lnTo>
                    <a:lnTo>
                      <a:pt x="177" y="405"/>
                    </a:lnTo>
                    <a:lnTo>
                      <a:pt x="219" y="435"/>
                    </a:lnTo>
                    <a:lnTo>
                      <a:pt x="222" y="468"/>
                    </a:lnTo>
                    <a:lnTo>
                      <a:pt x="171" y="477"/>
                    </a:lnTo>
                    <a:lnTo>
                      <a:pt x="147" y="513"/>
                    </a:lnTo>
                    <a:lnTo>
                      <a:pt x="144" y="573"/>
                    </a:lnTo>
                    <a:lnTo>
                      <a:pt x="183" y="588"/>
                    </a:lnTo>
                    <a:lnTo>
                      <a:pt x="186" y="630"/>
                    </a:lnTo>
                    <a:lnTo>
                      <a:pt x="210" y="663"/>
                    </a:lnTo>
                    <a:lnTo>
                      <a:pt x="261" y="669"/>
                    </a:lnTo>
                    <a:lnTo>
                      <a:pt x="261" y="696"/>
                    </a:lnTo>
                    <a:lnTo>
                      <a:pt x="300" y="735"/>
                    </a:lnTo>
                    <a:lnTo>
                      <a:pt x="258" y="768"/>
                    </a:lnTo>
                    <a:lnTo>
                      <a:pt x="228" y="801"/>
                    </a:lnTo>
                    <a:lnTo>
                      <a:pt x="201" y="819"/>
                    </a:lnTo>
                    <a:lnTo>
                      <a:pt x="228" y="867"/>
                    </a:lnTo>
                    <a:lnTo>
                      <a:pt x="222" y="93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1" name="Freeform 44"/>
              <p:cNvSpPr>
                <a:spLocks/>
              </p:cNvSpPr>
              <p:nvPr/>
            </p:nvSpPr>
            <p:spPr bwMode="auto">
              <a:xfrm>
                <a:off x="619" y="3278"/>
                <a:ext cx="438" cy="369"/>
              </a:xfrm>
              <a:custGeom>
                <a:avLst/>
                <a:gdLst>
                  <a:gd name="T0" fmla="*/ 0 w 1098"/>
                  <a:gd name="T1" fmla="*/ 0 h 1134"/>
                  <a:gd name="T2" fmla="*/ 0 w 1098"/>
                  <a:gd name="T3" fmla="*/ 0 h 1134"/>
                  <a:gd name="T4" fmla="*/ 0 w 1098"/>
                  <a:gd name="T5" fmla="*/ 0 h 1134"/>
                  <a:gd name="T6" fmla="*/ 0 w 1098"/>
                  <a:gd name="T7" fmla="*/ 0 h 1134"/>
                  <a:gd name="T8" fmla="*/ 0 w 1098"/>
                  <a:gd name="T9" fmla="*/ 0 h 1134"/>
                  <a:gd name="T10" fmla="*/ 0 w 1098"/>
                  <a:gd name="T11" fmla="*/ 0 h 1134"/>
                  <a:gd name="T12" fmla="*/ 0 w 1098"/>
                  <a:gd name="T13" fmla="*/ 0 h 1134"/>
                  <a:gd name="T14" fmla="*/ 0 w 1098"/>
                  <a:gd name="T15" fmla="*/ 0 h 1134"/>
                  <a:gd name="T16" fmla="*/ 0 w 1098"/>
                  <a:gd name="T17" fmla="*/ 0 h 1134"/>
                  <a:gd name="T18" fmla="*/ 0 w 1098"/>
                  <a:gd name="T19" fmla="*/ 0 h 1134"/>
                  <a:gd name="T20" fmla="*/ 0 w 1098"/>
                  <a:gd name="T21" fmla="*/ 0 h 1134"/>
                  <a:gd name="T22" fmla="*/ 0 w 1098"/>
                  <a:gd name="T23" fmla="*/ 0 h 1134"/>
                  <a:gd name="T24" fmla="*/ 0 w 1098"/>
                  <a:gd name="T25" fmla="*/ 0 h 1134"/>
                  <a:gd name="T26" fmla="*/ 0 w 1098"/>
                  <a:gd name="T27" fmla="*/ 0 h 1134"/>
                  <a:gd name="T28" fmla="*/ 0 w 1098"/>
                  <a:gd name="T29" fmla="*/ 0 h 1134"/>
                  <a:gd name="T30" fmla="*/ 0 w 1098"/>
                  <a:gd name="T31" fmla="*/ 0 h 1134"/>
                  <a:gd name="T32" fmla="*/ 0 w 1098"/>
                  <a:gd name="T33" fmla="*/ 0 h 1134"/>
                  <a:gd name="T34" fmla="*/ 0 w 1098"/>
                  <a:gd name="T35" fmla="*/ 0 h 1134"/>
                  <a:gd name="T36" fmla="*/ 0 w 1098"/>
                  <a:gd name="T37" fmla="*/ 0 h 1134"/>
                  <a:gd name="T38" fmla="*/ 0 w 1098"/>
                  <a:gd name="T39" fmla="*/ 0 h 1134"/>
                  <a:gd name="T40" fmla="*/ 0 w 1098"/>
                  <a:gd name="T41" fmla="*/ 0 h 1134"/>
                  <a:gd name="T42" fmla="*/ 0 w 1098"/>
                  <a:gd name="T43" fmla="*/ 0 h 1134"/>
                  <a:gd name="T44" fmla="*/ 0 w 1098"/>
                  <a:gd name="T45" fmla="*/ 0 h 1134"/>
                  <a:gd name="T46" fmla="*/ 0 w 1098"/>
                  <a:gd name="T47" fmla="*/ 0 h 1134"/>
                  <a:gd name="T48" fmla="*/ 0 w 1098"/>
                  <a:gd name="T49" fmla="*/ 0 h 1134"/>
                  <a:gd name="T50" fmla="*/ 0 w 1098"/>
                  <a:gd name="T51" fmla="*/ 0 h 1134"/>
                  <a:gd name="T52" fmla="*/ 0 w 1098"/>
                  <a:gd name="T53" fmla="*/ 0 h 1134"/>
                  <a:gd name="T54" fmla="*/ 0 w 1098"/>
                  <a:gd name="T55" fmla="*/ 0 h 1134"/>
                  <a:gd name="T56" fmla="*/ 0 w 1098"/>
                  <a:gd name="T57" fmla="*/ 0 h 1134"/>
                  <a:gd name="T58" fmla="*/ 0 w 1098"/>
                  <a:gd name="T59" fmla="*/ 0 h 1134"/>
                  <a:gd name="T60" fmla="*/ 0 w 1098"/>
                  <a:gd name="T61" fmla="*/ 0 h 1134"/>
                  <a:gd name="T62" fmla="*/ 0 w 1098"/>
                  <a:gd name="T63" fmla="*/ 0 h 1134"/>
                  <a:gd name="T64" fmla="*/ 0 w 1098"/>
                  <a:gd name="T65" fmla="*/ 0 h 1134"/>
                  <a:gd name="T66" fmla="*/ 0 w 1098"/>
                  <a:gd name="T67" fmla="*/ 0 h 1134"/>
                  <a:gd name="T68" fmla="*/ 0 w 1098"/>
                  <a:gd name="T69" fmla="*/ 0 h 1134"/>
                  <a:gd name="T70" fmla="*/ 0 w 1098"/>
                  <a:gd name="T71" fmla="*/ 0 h 1134"/>
                  <a:gd name="T72" fmla="*/ 0 w 1098"/>
                  <a:gd name="T73" fmla="*/ 0 h 1134"/>
                  <a:gd name="T74" fmla="*/ 0 w 1098"/>
                  <a:gd name="T75" fmla="*/ 0 h 11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8"/>
                  <a:gd name="T115" fmla="*/ 0 h 1134"/>
                  <a:gd name="T116" fmla="*/ 1098 w 1098"/>
                  <a:gd name="T117" fmla="*/ 1134 h 11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8" h="1134">
                    <a:moveTo>
                      <a:pt x="1077" y="1134"/>
                    </a:moveTo>
                    <a:lnTo>
                      <a:pt x="1098" y="1029"/>
                    </a:lnTo>
                    <a:lnTo>
                      <a:pt x="1095" y="990"/>
                    </a:lnTo>
                    <a:lnTo>
                      <a:pt x="1062" y="975"/>
                    </a:lnTo>
                    <a:lnTo>
                      <a:pt x="1047" y="942"/>
                    </a:lnTo>
                    <a:lnTo>
                      <a:pt x="1071" y="924"/>
                    </a:lnTo>
                    <a:lnTo>
                      <a:pt x="1077" y="891"/>
                    </a:lnTo>
                    <a:lnTo>
                      <a:pt x="1026" y="867"/>
                    </a:lnTo>
                    <a:lnTo>
                      <a:pt x="1026" y="765"/>
                    </a:lnTo>
                    <a:lnTo>
                      <a:pt x="1005" y="738"/>
                    </a:lnTo>
                    <a:lnTo>
                      <a:pt x="1065" y="669"/>
                    </a:lnTo>
                    <a:lnTo>
                      <a:pt x="1098" y="642"/>
                    </a:lnTo>
                    <a:lnTo>
                      <a:pt x="1065" y="597"/>
                    </a:lnTo>
                    <a:lnTo>
                      <a:pt x="1065" y="570"/>
                    </a:lnTo>
                    <a:lnTo>
                      <a:pt x="1008" y="567"/>
                    </a:lnTo>
                    <a:lnTo>
                      <a:pt x="990" y="540"/>
                    </a:lnTo>
                    <a:lnTo>
                      <a:pt x="987" y="492"/>
                    </a:lnTo>
                    <a:lnTo>
                      <a:pt x="951" y="477"/>
                    </a:lnTo>
                    <a:lnTo>
                      <a:pt x="945" y="417"/>
                    </a:lnTo>
                    <a:lnTo>
                      <a:pt x="969" y="378"/>
                    </a:lnTo>
                    <a:lnTo>
                      <a:pt x="1023" y="372"/>
                    </a:lnTo>
                    <a:lnTo>
                      <a:pt x="1020" y="333"/>
                    </a:lnTo>
                    <a:lnTo>
                      <a:pt x="978" y="303"/>
                    </a:lnTo>
                    <a:lnTo>
                      <a:pt x="990" y="258"/>
                    </a:lnTo>
                    <a:lnTo>
                      <a:pt x="972" y="246"/>
                    </a:lnTo>
                    <a:lnTo>
                      <a:pt x="885" y="219"/>
                    </a:lnTo>
                    <a:lnTo>
                      <a:pt x="855" y="153"/>
                    </a:lnTo>
                    <a:lnTo>
                      <a:pt x="804" y="120"/>
                    </a:lnTo>
                    <a:lnTo>
                      <a:pt x="747" y="153"/>
                    </a:lnTo>
                    <a:lnTo>
                      <a:pt x="729" y="186"/>
                    </a:lnTo>
                    <a:lnTo>
                      <a:pt x="687" y="135"/>
                    </a:lnTo>
                    <a:lnTo>
                      <a:pt x="510" y="183"/>
                    </a:lnTo>
                    <a:lnTo>
                      <a:pt x="516" y="147"/>
                    </a:lnTo>
                    <a:lnTo>
                      <a:pt x="480" y="120"/>
                    </a:lnTo>
                    <a:lnTo>
                      <a:pt x="480" y="87"/>
                    </a:lnTo>
                    <a:lnTo>
                      <a:pt x="444" y="75"/>
                    </a:lnTo>
                    <a:lnTo>
                      <a:pt x="462" y="42"/>
                    </a:lnTo>
                    <a:lnTo>
                      <a:pt x="426" y="3"/>
                    </a:lnTo>
                    <a:lnTo>
                      <a:pt x="336" y="33"/>
                    </a:lnTo>
                    <a:lnTo>
                      <a:pt x="294" y="48"/>
                    </a:lnTo>
                    <a:lnTo>
                      <a:pt x="258" y="111"/>
                    </a:lnTo>
                    <a:lnTo>
                      <a:pt x="204" y="111"/>
                    </a:lnTo>
                    <a:lnTo>
                      <a:pt x="156" y="21"/>
                    </a:lnTo>
                    <a:lnTo>
                      <a:pt x="96" y="0"/>
                    </a:lnTo>
                    <a:lnTo>
                      <a:pt x="42" y="30"/>
                    </a:lnTo>
                    <a:lnTo>
                      <a:pt x="42" y="54"/>
                    </a:lnTo>
                    <a:lnTo>
                      <a:pt x="0" y="78"/>
                    </a:lnTo>
                    <a:lnTo>
                      <a:pt x="3" y="108"/>
                    </a:lnTo>
                    <a:lnTo>
                      <a:pt x="114" y="204"/>
                    </a:lnTo>
                    <a:lnTo>
                      <a:pt x="144" y="285"/>
                    </a:lnTo>
                    <a:lnTo>
                      <a:pt x="267" y="447"/>
                    </a:lnTo>
                    <a:lnTo>
                      <a:pt x="306" y="447"/>
                    </a:lnTo>
                    <a:lnTo>
                      <a:pt x="318" y="429"/>
                    </a:lnTo>
                    <a:lnTo>
                      <a:pt x="381" y="462"/>
                    </a:lnTo>
                    <a:lnTo>
                      <a:pt x="408" y="444"/>
                    </a:lnTo>
                    <a:lnTo>
                      <a:pt x="546" y="507"/>
                    </a:lnTo>
                    <a:lnTo>
                      <a:pt x="564" y="528"/>
                    </a:lnTo>
                    <a:lnTo>
                      <a:pt x="570" y="555"/>
                    </a:lnTo>
                    <a:lnTo>
                      <a:pt x="651" y="810"/>
                    </a:lnTo>
                    <a:lnTo>
                      <a:pt x="633" y="867"/>
                    </a:lnTo>
                    <a:lnTo>
                      <a:pt x="504" y="918"/>
                    </a:lnTo>
                    <a:lnTo>
                      <a:pt x="414" y="930"/>
                    </a:lnTo>
                    <a:lnTo>
                      <a:pt x="396" y="999"/>
                    </a:lnTo>
                    <a:lnTo>
                      <a:pt x="420" y="1032"/>
                    </a:lnTo>
                    <a:lnTo>
                      <a:pt x="483" y="1014"/>
                    </a:lnTo>
                    <a:lnTo>
                      <a:pt x="489" y="954"/>
                    </a:lnTo>
                    <a:lnTo>
                      <a:pt x="531" y="945"/>
                    </a:lnTo>
                    <a:lnTo>
                      <a:pt x="555" y="918"/>
                    </a:lnTo>
                    <a:lnTo>
                      <a:pt x="597" y="897"/>
                    </a:lnTo>
                    <a:lnTo>
                      <a:pt x="627" y="906"/>
                    </a:lnTo>
                    <a:lnTo>
                      <a:pt x="624" y="1029"/>
                    </a:lnTo>
                    <a:lnTo>
                      <a:pt x="627" y="1080"/>
                    </a:lnTo>
                    <a:lnTo>
                      <a:pt x="771" y="1077"/>
                    </a:lnTo>
                    <a:lnTo>
                      <a:pt x="834" y="1107"/>
                    </a:lnTo>
                    <a:lnTo>
                      <a:pt x="891" y="1125"/>
                    </a:lnTo>
                    <a:lnTo>
                      <a:pt x="954" y="1131"/>
                    </a:lnTo>
                    <a:lnTo>
                      <a:pt x="1077" y="1134"/>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62" name="Freeform 45"/>
              <p:cNvSpPr>
                <a:spLocks/>
              </p:cNvSpPr>
              <p:nvPr/>
            </p:nvSpPr>
            <p:spPr bwMode="auto">
              <a:xfrm>
                <a:off x="642" y="3407"/>
                <a:ext cx="104" cy="130"/>
              </a:xfrm>
              <a:custGeom>
                <a:avLst/>
                <a:gdLst>
                  <a:gd name="T0" fmla="*/ 0 w 261"/>
                  <a:gd name="T1" fmla="*/ 0 h 399"/>
                  <a:gd name="T2" fmla="*/ 0 w 261"/>
                  <a:gd name="T3" fmla="*/ 0 h 399"/>
                  <a:gd name="T4" fmla="*/ 0 w 261"/>
                  <a:gd name="T5" fmla="*/ 0 h 399"/>
                  <a:gd name="T6" fmla="*/ 0 w 261"/>
                  <a:gd name="T7" fmla="*/ 0 h 399"/>
                  <a:gd name="T8" fmla="*/ 0 w 261"/>
                  <a:gd name="T9" fmla="*/ 0 h 399"/>
                  <a:gd name="T10" fmla="*/ 0 w 261"/>
                  <a:gd name="T11" fmla="*/ 0 h 399"/>
                  <a:gd name="T12" fmla="*/ 0 w 261"/>
                  <a:gd name="T13" fmla="*/ 0 h 399"/>
                  <a:gd name="T14" fmla="*/ 0 w 261"/>
                  <a:gd name="T15" fmla="*/ 0 h 399"/>
                  <a:gd name="T16" fmla="*/ 0 w 261"/>
                  <a:gd name="T17" fmla="*/ 0 h 399"/>
                  <a:gd name="T18" fmla="*/ 0 w 261"/>
                  <a:gd name="T19" fmla="*/ 0 h 399"/>
                  <a:gd name="T20" fmla="*/ 0 w 261"/>
                  <a:gd name="T21" fmla="*/ 0 h 399"/>
                  <a:gd name="T22" fmla="*/ 0 w 261"/>
                  <a:gd name="T23" fmla="*/ 0 h 399"/>
                  <a:gd name="T24" fmla="*/ 0 w 261"/>
                  <a:gd name="T25" fmla="*/ 0 h 399"/>
                  <a:gd name="T26" fmla="*/ 0 w 261"/>
                  <a:gd name="T27" fmla="*/ 0 h 399"/>
                  <a:gd name="T28" fmla="*/ 0 w 261"/>
                  <a:gd name="T29" fmla="*/ 0 h 399"/>
                  <a:gd name="T30" fmla="*/ 0 w 261"/>
                  <a:gd name="T31" fmla="*/ 0 h 399"/>
                  <a:gd name="T32" fmla="*/ 0 w 261"/>
                  <a:gd name="T33" fmla="*/ 0 h 399"/>
                  <a:gd name="T34" fmla="*/ 0 w 261"/>
                  <a:gd name="T35" fmla="*/ 0 h 399"/>
                  <a:gd name="T36" fmla="*/ 0 w 261"/>
                  <a:gd name="T37" fmla="*/ 0 h 399"/>
                  <a:gd name="T38" fmla="*/ 0 w 261"/>
                  <a:gd name="T39" fmla="*/ 0 h 399"/>
                  <a:gd name="T40" fmla="*/ 0 w 261"/>
                  <a:gd name="T41" fmla="*/ 0 h 399"/>
                  <a:gd name="T42" fmla="*/ 0 w 261"/>
                  <a:gd name="T43" fmla="*/ 0 h 39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399"/>
                  <a:gd name="T68" fmla="*/ 261 w 261"/>
                  <a:gd name="T69" fmla="*/ 399 h 39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399">
                    <a:moveTo>
                      <a:pt x="141" y="111"/>
                    </a:moveTo>
                    <a:cubicBezTo>
                      <a:pt x="141" y="100"/>
                      <a:pt x="141" y="89"/>
                      <a:pt x="141" y="78"/>
                    </a:cubicBezTo>
                    <a:lnTo>
                      <a:pt x="147" y="39"/>
                    </a:lnTo>
                    <a:lnTo>
                      <a:pt x="132" y="0"/>
                    </a:lnTo>
                    <a:lnTo>
                      <a:pt x="93" y="0"/>
                    </a:lnTo>
                    <a:lnTo>
                      <a:pt x="72" y="18"/>
                    </a:lnTo>
                    <a:lnTo>
                      <a:pt x="63" y="69"/>
                    </a:lnTo>
                    <a:lnTo>
                      <a:pt x="45" y="66"/>
                    </a:lnTo>
                    <a:lnTo>
                      <a:pt x="45" y="30"/>
                    </a:lnTo>
                    <a:lnTo>
                      <a:pt x="12" y="33"/>
                    </a:lnTo>
                    <a:lnTo>
                      <a:pt x="0" y="87"/>
                    </a:lnTo>
                    <a:lnTo>
                      <a:pt x="48" y="114"/>
                    </a:lnTo>
                    <a:lnTo>
                      <a:pt x="141" y="243"/>
                    </a:lnTo>
                    <a:lnTo>
                      <a:pt x="174" y="324"/>
                    </a:lnTo>
                    <a:lnTo>
                      <a:pt x="171" y="366"/>
                    </a:lnTo>
                    <a:lnTo>
                      <a:pt x="261" y="399"/>
                    </a:lnTo>
                    <a:lnTo>
                      <a:pt x="255" y="294"/>
                    </a:lnTo>
                    <a:lnTo>
                      <a:pt x="225" y="240"/>
                    </a:lnTo>
                    <a:lnTo>
                      <a:pt x="240" y="117"/>
                    </a:lnTo>
                    <a:lnTo>
                      <a:pt x="195" y="90"/>
                    </a:lnTo>
                    <a:lnTo>
                      <a:pt x="159" y="126"/>
                    </a:lnTo>
                    <a:lnTo>
                      <a:pt x="141" y="111"/>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78" name="Group 46"/>
            <p:cNvGrpSpPr>
              <a:grpSpLocks/>
            </p:cNvGrpSpPr>
            <p:nvPr/>
          </p:nvGrpSpPr>
          <p:grpSpPr bwMode="auto">
            <a:xfrm>
              <a:off x="1770" y="2923"/>
              <a:ext cx="874" cy="905"/>
              <a:chOff x="1581" y="3245"/>
              <a:chExt cx="874" cy="905"/>
            </a:xfrm>
          </p:grpSpPr>
          <p:sp>
            <p:nvSpPr>
              <p:cNvPr id="29844" name="Freeform 47"/>
              <p:cNvSpPr>
                <a:spLocks/>
              </p:cNvSpPr>
              <p:nvPr/>
            </p:nvSpPr>
            <p:spPr bwMode="auto">
              <a:xfrm>
                <a:off x="1581" y="3318"/>
                <a:ext cx="270" cy="211"/>
              </a:xfrm>
              <a:custGeom>
                <a:avLst/>
                <a:gdLst>
                  <a:gd name="T0" fmla="*/ 0 w 675"/>
                  <a:gd name="T1" fmla="*/ 0 h 648"/>
                  <a:gd name="T2" fmla="*/ 0 w 675"/>
                  <a:gd name="T3" fmla="*/ 0 h 648"/>
                  <a:gd name="T4" fmla="*/ 0 w 675"/>
                  <a:gd name="T5" fmla="*/ 0 h 648"/>
                  <a:gd name="T6" fmla="*/ 0 w 675"/>
                  <a:gd name="T7" fmla="*/ 0 h 648"/>
                  <a:gd name="T8" fmla="*/ 0 w 675"/>
                  <a:gd name="T9" fmla="*/ 0 h 648"/>
                  <a:gd name="T10" fmla="*/ 0 w 675"/>
                  <a:gd name="T11" fmla="*/ 0 h 648"/>
                  <a:gd name="T12" fmla="*/ 0 w 675"/>
                  <a:gd name="T13" fmla="*/ 0 h 648"/>
                  <a:gd name="T14" fmla="*/ 0 w 675"/>
                  <a:gd name="T15" fmla="*/ 0 h 648"/>
                  <a:gd name="T16" fmla="*/ 0 w 675"/>
                  <a:gd name="T17" fmla="*/ 0 h 648"/>
                  <a:gd name="T18" fmla="*/ 0 w 675"/>
                  <a:gd name="T19" fmla="*/ 0 h 648"/>
                  <a:gd name="T20" fmla="*/ 0 w 675"/>
                  <a:gd name="T21" fmla="*/ 0 h 648"/>
                  <a:gd name="T22" fmla="*/ 0 w 675"/>
                  <a:gd name="T23" fmla="*/ 0 h 648"/>
                  <a:gd name="T24" fmla="*/ 0 w 675"/>
                  <a:gd name="T25" fmla="*/ 0 h 648"/>
                  <a:gd name="T26" fmla="*/ 0 w 675"/>
                  <a:gd name="T27" fmla="*/ 0 h 648"/>
                  <a:gd name="T28" fmla="*/ 0 w 675"/>
                  <a:gd name="T29" fmla="*/ 0 h 648"/>
                  <a:gd name="T30" fmla="*/ 0 w 675"/>
                  <a:gd name="T31" fmla="*/ 0 h 648"/>
                  <a:gd name="T32" fmla="*/ 0 w 675"/>
                  <a:gd name="T33" fmla="*/ 0 h 648"/>
                  <a:gd name="T34" fmla="*/ 0 w 675"/>
                  <a:gd name="T35" fmla="*/ 0 h 648"/>
                  <a:gd name="T36" fmla="*/ 0 w 675"/>
                  <a:gd name="T37" fmla="*/ 0 h 648"/>
                  <a:gd name="T38" fmla="*/ 0 w 675"/>
                  <a:gd name="T39" fmla="*/ 0 h 648"/>
                  <a:gd name="T40" fmla="*/ 0 w 675"/>
                  <a:gd name="T41" fmla="*/ 0 h 648"/>
                  <a:gd name="T42" fmla="*/ 0 w 675"/>
                  <a:gd name="T43" fmla="*/ 0 h 648"/>
                  <a:gd name="T44" fmla="*/ 0 w 675"/>
                  <a:gd name="T45" fmla="*/ 0 h 648"/>
                  <a:gd name="T46" fmla="*/ 0 w 675"/>
                  <a:gd name="T47" fmla="*/ 0 h 648"/>
                  <a:gd name="T48" fmla="*/ 0 w 675"/>
                  <a:gd name="T49" fmla="*/ 0 h 648"/>
                  <a:gd name="T50" fmla="*/ 0 w 675"/>
                  <a:gd name="T51" fmla="*/ 0 h 648"/>
                  <a:gd name="T52" fmla="*/ 0 w 675"/>
                  <a:gd name="T53" fmla="*/ 0 h 648"/>
                  <a:gd name="T54" fmla="*/ 0 w 675"/>
                  <a:gd name="T55" fmla="*/ 0 h 648"/>
                  <a:gd name="T56" fmla="*/ 0 w 675"/>
                  <a:gd name="T57" fmla="*/ 0 h 648"/>
                  <a:gd name="T58" fmla="*/ 0 w 675"/>
                  <a:gd name="T59" fmla="*/ 0 h 648"/>
                  <a:gd name="T60" fmla="*/ 0 w 675"/>
                  <a:gd name="T61" fmla="*/ 0 h 648"/>
                  <a:gd name="T62" fmla="*/ 0 w 675"/>
                  <a:gd name="T63" fmla="*/ 0 h 648"/>
                  <a:gd name="T64" fmla="*/ 0 w 675"/>
                  <a:gd name="T65" fmla="*/ 0 h 648"/>
                  <a:gd name="T66" fmla="*/ 0 w 675"/>
                  <a:gd name="T67" fmla="*/ 0 h 648"/>
                  <a:gd name="T68" fmla="*/ 0 w 675"/>
                  <a:gd name="T69" fmla="*/ 0 h 648"/>
                  <a:gd name="T70" fmla="*/ 0 w 675"/>
                  <a:gd name="T71" fmla="*/ 0 h 648"/>
                  <a:gd name="T72" fmla="*/ 0 w 675"/>
                  <a:gd name="T73" fmla="*/ 0 h 648"/>
                  <a:gd name="T74" fmla="*/ 0 w 675"/>
                  <a:gd name="T75" fmla="*/ 0 h 648"/>
                  <a:gd name="T76" fmla="*/ 0 w 675"/>
                  <a:gd name="T77" fmla="*/ 0 h 648"/>
                  <a:gd name="T78" fmla="*/ 0 w 675"/>
                  <a:gd name="T79" fmla="*/ 0 h 648"/>
                  <a:gd name="T80" fmla="*/ 0 w 675"/>
                  <a:gd name="T81" fmla="*/ 0 h 648"/>
                  <a:gd name="T82" fmla="*/ 0 w 675"/>
                  <a:gd name="T83" fmla="*/ 0 h 648"/>
                  <a:gd name="T84" fmla="*/ 0 w 675"/>
                  <a:gd name="T85" fmla="*/ 0 h 648"/>
                  <a:gd name="T86" fmla="*/ 0 w 675"/>
                  <a:gd name="T87" fmla="*/ 0 h 648"/>
                  <a:gd name="T88" fmla="*/ 0 w 675"/>
                  <a:gd name="T89" fmla="*/ 0 h 648"/>
                  <a:gd name="T90" fmla="*/ 0 w 675"/>
                  <a:gd name="T91" fmla="*/ 0 h 648"/>
                  <a:gd name="T92" fmla="*/ 0 w 675"/>
                  <a:gd name="T93" fmla="*/ 0 h 648"/>
                  <a:gd name="T94" fmla="*/ 0 w 675"/>
                  <a:gd name="T95" fmla="*/ 0 h 648"/>
                  <a:gd name="T96" fmla="*/ 0 w 675"/>
                  <a:gd name="T97" fmla="*/ 0 h 648"/>
                  <a:gd name="T98" fmla="*/ 0 w 675"/>
                  <a:gd name="T99" fmla="*/ 0 h 648"/>
                  <a:gd name="T100" fmla="*/ 0 w 675"/>
                  <a:gd name="T101" fmla="*/ 0 h 648"/>
                  <a:gd name="T102" fmla="*/ 0 w 675"/>
                  <a:gd name="T103" fmla="*/ 0 h 648"/>
                  <a:gd name="T104" fmla="*/ 0 w 675"/>
                  <a:gd name="T105" fmla="*/ 0 h 648"/>
                  <a:gd name="T106" fmla="*/ 0 w 675"/>
                  <a:gd name="T107" fmla="*/ 0 h 648"/>
                  <a:gd name="T108" fmla="*/ 0 w 675"/>
                  <a:gd name="T109" fmla="*/ 0 h 6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75"/>
                  <a:gd name="T166" fmla="*/ 0 h 648"/>
                  <a:gd name="T167" fmla="*/ 675 w 675"/>
                  <a:gd name="T168" fmla="*/ 648 h 6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75" h="648">
                    <a:moveTo>
                      <a:pt x="675" y="375"/>
                    </a:moveTo>
                    <a:cubicBezTo>
                      <a:pt x="669" y="359"/>
                      <a:pt x="675" y="349"/>
                      <a:pt x="666" y="333"/>
                    </a:cubicBezTo>
                    <a:cubicBezTo>
                      <a:pt x="662" y="326"/>
                      <a:pt x="647" y="297"/>
                      <a:pt x="636" y="273"/>
                    </a:cubicBezTo>
                    <a:lnTo>
                      <a:pt x="594" y="195"/>
                    </a:lnTo>
                    <a:lnTo>
                      <a:pt x="588" y="153"/>
                    </a:lnTo>
                    <a:lnTo>
                      <a:pt x="516" y="120"/>
                    </a:lnTo>
                    <a:lnTo>
                      <a:pt x="513" y="93"/>
                    </a:lnTo>
                    <a:lnTo>
                      <a:pt x="447" y="126"/>
                    </a:lnTo>
                    <a:lnTo>
                      <a:pt x="396" y="141"/>
                    </a:lnTo>
                    <a:lnTo>
                      <a:pt x="330" y="129"/>
                    </a:lnTo>
                    <a:lnTo>
                      <a:pt x="297" y="102"/>
                    </a:lnTo>
                    <a:lnTo>
                      <a:pt x="300" y="30"/>
                    </a:lnTo>
                    <a:lnTo>
                      <a:pt x="282" y="0"/>
                    </a:lnTo>
                    <a:lnTo>
                      <a:pt x="207" y="15"/>
                    </a:lnTo>
                    <a:lnTo>
                      <a:pt x="144" y="45"/>
                    </a:lnTo>
                    <a:lnTo>
                      <a:pt x="129" y="66"/>
                    </a:lnTo>
                    <a:lnTo>
                      <a:pt x="153" y="90"/>
                    </a:lnTo>
                    <a:lnTo>
                      <a:pt x="123" y="147"/>
                    </a:lnTo>
                    <a:lnTo>
                      <a:pt x="57" y="150"/>
                    </a:lnTo>
                    <a:lnTo>
                      <a:pt x="27" y="126"/>
                    </a:lnTo>
                    <a:lnTo>
                      <a:pt x="0" y="153"/>
                    </a:lnTo>
                    <a:lnTo>
                      <a:pt x="87" y="210"/>
                    </a:lnTo>
                    <a:lnTo>
                      <a:pt x="96" y="252"/>
                    </a:lnTo>
                    <a:lnTo>
                      <a:pt x="177" y="270"/>
                    </a:lnTo>
                    <a:lnTo>
                      <a:pt x="189" y="291"/>
                    </a:lnTo>
                    <a:lnTo>
                      <a:pt x="180" y="324"/>
                    </a:lnTo>
                    <a:lnTo>
                      <a:pt x="204" y="360"/>
                    </a:lnTo>
                    <a:lnTo>
                      <a:pt x="153" y="336"/>
                    </a:lnTo>
                    <a:lnTo>
                      <a:pt x="90" y="273"/>
                    </a:lnTo>
                    <a:lnTo>
                      <a:pt x="57" y="279"/>
                    </a:lnTo>
                    <a:lnTo>
                      <a:pt x="105" y="339"/>
                    </a:lnTo>
                    <a:lnTo>
                      <a:pt x="114" y="387"/>
                    </a:lnTo>
                    <a:lnTo>
                      <a:pt x="150" y="402"/>
                    </a:lnTo>
                    <a:lnTo>
                      <a:pt x="210" y="387"/>
                    </a:lnTo>
                    <a:lnTo>
                      <a:pt x="264" y="426"/>
                    </a:lnTo>
                    <a:lnTo>
                      <a:pt x="249" y="453"/>
                    </a:lnTo>
                    <a:lnTo>
                      <a:pt x="216" y="441"/>
                    </a:lnTo>
                    <a:lnTo>
                      <a:pt x="225" y="474"/>
                    </a:lnTo>
                    <a:lnTo>
                      <a:pt x="270" y="495"/>
                    </a:lnTo>
                    <a:lnTo>
                      <a:pt x="270" y="522"/>
                    </a:lnTo>
                    <a:lnTo>
                      <a:pt x="231" y="549"/>
                    </a:lnTo>
                    <a:lnTo>
                      <a:pt x="192" y="549"/>
                    </a:lnTo>
                    <a:lnTo>
                      <a:pt x="174" y="579"/>
                    </a:lnTo>
                    <a:lnTo>
                      <a:pt x="207" y="612"/>
                    </a:lnTo>
                    <a:lnTo>
                      <a:pt x="306" y="636"/>
                    </a:lnTo>
                    <a:lnTo>
                      <a:pt x="363" y="648"/>
                    </a:lnTo>
                    <a:lnTo>
                      <a:pt x="411" y="609"/>
                    </a:lnTo>
                    <a:lnTo>
                      <a:pt x="435" y="528"/>
                    </a:lnTo>
                    <a:lnTo>
                      <a:pt x="543" y="513"/>
                    </a:lnTo>
                    <a:lnTo>
                      <a:pt x="543" y="471"/>
                    </a:lnTo>
                    <a:lnTo>
                      <a:pt x="522" y="429"/>
                    </a:lnTo>
                    <a:lnTo>
                      <a:pt x="516" y="393"/>
                    </a:lnTo>
                    <a:lnTo>
                      <a:pt x="528" y="360"/>
                    </a:lnTo>
                    <a:lnTo>
                      <a:pt x="564" y="402"/>
                    </a:lnTo>
                    <a:lnTo>
                      <a:pt x="675" y="37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5" name="Freeform 48"/>
              <p:cNvSpPr>
                <a:spLocks/>
              </p:cNvSpPr>
              <p:nvPr/>
            </p:nvSpPr>
            <p:spPr bwMode="auto">
              <a:xfrm>
                <a:off x="1785" y="3247"/>
                <a:ext cx="398" cy="219"/>
              </a:xfrm>
              <a:custGeom>
                <a:avLst/>
                <a:gdLst>
                  <a:gd name="T0" fmla="*/ 0 w 999"/>
                  <a:gd name="T1" fmla="*/ 0 h 672"/>
                  <a:gd name="T2" fmla="*/ 0 w 999"/>
                  <a:gd name="T3" fmla="*/ 0 h 672"/>
                  <a:gd name="T4" fmla="*/ 0 w 999"/>
                  <a:gd name="T5" fmla="*/ 0 h 672"/>
                  <a:gd name="T6" fmla="*/ 0 w 999"/>
                  <a:gd name="T7" fmla="*/ 0 h 672"/>
                  <a:gd name="T8" fmla="*/ 0 w 999"/>
                  <a:gd name="T9" fmla="*/ 0 h 672"/>
                  <a:gd name="T10" fmla="*/ 0 w 999"/>
                  <a:gd name="T11" fmla="*/ 0 h 672"/>
                  <a:gd name="T12" fmla="*/ 0 w 999"/>
                  <a:gd name="T13" fmla="*/ 0 h 672"/>
                  <a:gd name="T14" fmla="*/ 0 w 999"/>
                  <a:gd name="T15" fmla="*/ 0 h 672"/>
                  <a:gd name="T16" fmla="*/ 0 w 999"/>
                  <a:gd name="T17" fmla="*/ 0 h 672"/>
                  <a:gd name="T18" fmla="*/ 0 w 999"/>
                  <a:gd name="T19" fmla="*/ 0 h 672"/>
                  <a:gd name="T20" fmla="*/ 0 w 999"/>
                  <a:gd name="T21" fmla="*/ 0 h 672"/>
                  <a:gd name="T22" fmla="*/ 0 w 999"/>
                  <a:gd name="T23" fmla="*/ 0 h 672"/>
                  <a:gd name="T24" fmla="*/ 0 w 999"/>
                  <a:gd name="T25" fmla="*/ 0 h 672"/>
                  <a:gd name="T26" fmla="*/ 0 w 999"/>
                  <a:gd name="T27" fmla="*/ 0 h 672"/>
                  <a:gd name="T28" fmla="*/ 0 w 999"/>
                  <a:gd name="T29" fmla="*/ 0 h 672"/>
                  <a:gd name="T30" fmla="*/ 0 w 999"/>
                  <a:gd name="T31" fmla="*/ 0 h 672"/>
                  <a:gd name="T32" fmla="*/ 0 w 999"/>
                  <a:gd name="T33" fmla="*/ 0 h 672"/>
                  <a:gd name="T34" fmla="*/ 0 w 999"/>
                  <a:gd name="T35" fmla="*/ 0 h 672"/>
                  <a:gd name="T36" fmla="*/ 0 w 999"/>
                  <a:gd name="T37" fmla="*/ 0 h 672"/>
                  <a:gd name="T38" fmla="*/ 0 w 999"/>
                  <a:gd name="T39" fmla="*/ 0 h 672"/>
                  <a:gd name="T40" fmla="*/ 0 w 999"/>
                  <a:gd name="T41" fmla="*/ 0 h 672"/>
                  <a:gd name="T42" fmla="*/ 0 w 999"/>
                  <a:gd name="T43" fmla="*/ 0 h 672"/>
                  <a:gd name="T44" fmla="*/ 0 w 999"/>
                  <a:gd name="T45" fmla="*/ 0 h 672"/>
                  <a:gd name="T46" fmla="*/ 0 w 999"/>
                  <a:gd name="T47" fmla="*/ 0 h 672"/>
                  <a:gd name="T48" fmla="*/ 0 w 999"/>
                  <a:gd name="T49" fmla="*/ 0 h 672"/>
                  <a:gd name="T50" fmla="*/ 0 w 999"/>
                  <a:gd name="T51" fmla="*/ 0 h 672"/>
                  <a:gd name="T52" fmla="*/ 0 w 999"/>
                  <a:gd name="T53" fmla="*/ 0 h 672"/>
                  <a:gd name="T54" fmla="*/ 0 w 999"/>
                  <a:gd name="T55" fmla="*/ 0 h 672"/>
                  <a:gd name="T56" fmla="*/ 0 w 999"/>
                  <a:gd name="T57" fmla="*/ 0 h 672"/>
                  <a:gd name="T58" fmla="*/ 0 w 999"/>
                  <a:gd name="T59" fmla="*/ 0 h 672"/>
                  <a:gd name="T60" fmla="*/ 0 w 999"/>
                  <a:gd name="T61" fmla="*/ 0 h 672"/>
                  <a:gd name="T62" fmla="*/ 0 w 999"/>
                  <a:gd name="T63" fmla="*/ 0 h 672"/>
                  <a:gd name="T64" fmla="*/ 0 w 999"/>
                  <a:gd name="T65" fmla="*/ 0 h 672"/>
                  <a:gd name="T66" fmla="*/ 0 w 999"/>
                  <a:gd name="T67" fmla="*/ 0 h 672"/>
                  <a:gd name="T68" fmla="*/ 0 w 999"/>
                  <a:gd name="T69" fmla="*/ 0 h 672"/>
                  <a:gd name="T70" fmla="*/ 0 w 999"/>
                  <a:gd name="T71" fmla="*/ 0 h 672"/>
                  <a:gd name="T72" fmla="*/ 0 w 999"/>
                  <a:gd name="T73" fmla="*/ 0 h 672"/>
                  <a:gd name="T74" fmla="*/ 0 w 999"/>
                  <a:gd name="T75" fmla="*/ 0 h 672"/>
                  <a:gd name="T76" fmla="*/ 0 w 999"/>
                  <a:gd name="T77" fmla="*/ 0 h 672"/>
                  <a:gd name="T78" fmla="*/ 0 w 999"/>
                  <a:gd name="T79" fmla="*/ 0 h 672"/>
                  <a:gd name="T80" fmla="*/ 0 w 999"/>
                  <a:gd name="T81" fmla="*/ 0 h 672"/>
                  <a:gd name="T82" fmla="*/ 0 w 999"/>
                  <a:gd name="T83" fmla="*/ 0 h 672"/>
                  <a:gd name="T84" fmla="*/ 0 w 999"/>
                  <a:gd name="T85" fmla="*/ 0 h 672"/>
                  <a:gd name="T86" fmla="*/ 0 w 999"/>
                  <a:gd name="T87" fmla="*/ 0 h 672"/>
                  <a:gd name="T88" fmla="*/ 0 w 999"/>
                  <a:gd name="T89" fmla="*/ 0 h 672"/>
                  <a:gd name="T90" fmla="*/ 0 w 999"/>
                  <a:gd name="T91" fmla="*/ 0 h 672"/>
                  <a:gd name="T92" fmla="*/ 0 w 999"/>
                  <a:gd name="T93" fmla="*/ 0 h 672"/>
                  <a:gd name="T94" fmla="*/ 0 w 999"/>
                  <a:gd name="T95" fmla="*/ 0 h 672"/>
                  <a:gd name="T96" fmla="*/ 0 w 999"/>
                  <a:gd name="T97" fmla="*/ 0 h 672"/>
                  <a:gd name="T98" fmla="*/ 0 w 999"/>
                  <a:gd name="T99" fmla="*/ 0 h 67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9"/>
                  <a:gd name="T151" fmla="*/ 0 h 672"/>
                  <a:gd name="T152" fmla="*/ 999 w 999"/>
                  <a:gd name="T153" fmla="*/ 672 h 67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9" h="672">
                    <a:moveTo>
                      <a:pt x="807" y="450"/>
                    </a:moveTo>
                    <a:lnTo>
                      <a:pt x="840" y="411"/>
                    </a:lnTo>
                    <a:lnTo>
                      <a:pt x="879" y="402"/>
                    </a:lnTo>
                    <a:lnTo>
                      <a:pt x="888" y="354"/>
                    </a:lnTo>
                    <a:lnTo>
                      <a:pt x="864" y="330"/>
                    </a:lnTo>
                    <a:lnTo>
                      <a:pt x="861" y="276"/>
                    </a:lnTo>
                    <a:lnTo>
                      <a:pt x="897" y="264"/>
                    </a:lnTo>
                    <a:lnTo>
                      <a:pt x="897" y="237"/>
                    </a:lnTo>
                    <a:lnTo>
                      <a:pt x="921" y="258"/>
                    </a:lnTo>
                    <a:lnTo>
                      <a:pt x="951" y="300"/>
                    </a:lnTo>
                    <a:lnTo>
                      <a:pt x="975" y="330"/>
                    </a:lnTo>
                    <a:lnTo>
                      <a:pt x="999" y="303"/>
                    </a:lnTo>
                    <a:lnTo>
                      <a:pt x="942" y="249"/>
                    </a:lnTo>
                    <a:lnTo>
                      <a:pt x="882" y="204"/>
                    </a:lnTo>
                    <a:lnTo>
                      <a:pt x="801" y="159"/>
                    </a:lnTo>
                    <a:lnTo>
                      <a:pt x="768" y="96"/>
                    </a:lnTo>
                    <a:lnTo>
                      <a:pt x="651" y="57"/>
                    </a:lnTo>
                    <a:lnTo>
                      <a:pt x="597" y="3"/>
                    </a:lnTo>
                    <a:lnTo>
                      <a:pt x="537" y="0"/>
                    </a:lnTo>
                    <a:lnTo>
                      <a:pt x="561" y="78"/>
                    </a:lnTo>
                    <a:lnTo>
                      <a:pt x="585" y="96"/>
                    </a:lnTo>
                    <a:lnTo>
                      <a:pt x="585" y="123"/>
                    </a:lnTo>
                    <a:lnTo>
                      <a:pt x="534" y="126"/>
                    </a:lnTo>
                    <a:lnTo>
                      <a:pt x="522" y="66"/>
                    </a:lnTo>
                    <a:lnTo>
                      <a:pt x="456" y="66"/>
                    </a:lnTo>
                    <a:lnTo>
                      <a:pt x="351" y="123"/>
                    </a:lnTo>
                    <a:lnTo>
                      <a:pt x="258" y="150"/>
                    </a:lnTo>
                    <a:lnTo>
                      <a:pt x="150" y="204"/>
                    </a:lnTo>
                    <a:lnTo>
                      <a:pt x="99" y="207"/>
                    </a:lnTo>
                    <a:lnTo>
                      <a:pt x="99" y="234"/>
                    </a:lnTo>
                    <a:lnTo>
                      <a:pt x="0" y="309"/>
                    </a:lnTo>
                    <a:lnTo>
                      <a:pt x="3" y="336"/>
                    </a:lnTo>
                    <a:lnTo>
                      <a:pt x="75" y="369"/>
                    </a:lnTo>
                    <a:lnTo>
                      <a:pt x="81" y="405"/>
                    </a:lnTo>
                    <a:lnTo>
                      <a:pt x="156" y="558"/>
                    </a:lnTo>
                    <a:lnTo>
                      <a:pt x="159" y="588"/>
                    </a:lnTo>
                    <a:lnTo>
                      <a:pt x="303" y="615"/>
                    </a:lnTo>
                    <a:lnTo>
                      <a:pt x="381" y="672"/>
                    </a:lnTo>
                    <a:lnTo>
                      <a:pt x="462" y="567"/>
                    </a:lnTo>
                    <a:lnTo>
                      <a:pt x="459" y="549"/>
                    </a:lnTo>
                    <a:lnTo>
                      <a:pt x="489" y="510"/>
                    </a:lnTo>
                    <a:lnTo>
                      <a:pt x="519" y="510"/>
                    </a:lnTo>
                    <a:lnTo>
                      <a:pt x="549" y="447"/>
                    </a:lnTo>
                    <a:lnTo>
                      <a:pt x="561" y="486"/>
                    </a:lnTo>
                    <a:lnTo>
                      <a:pt x="603" y="483"/>
                    </a:lnTo>
                    <a:lnTo>
                      <a:pt x="669" y="429"/>
                    </a:lnTo>
                    <a:lnTo>
                      <a:pt x="681" y="450"/>
                    </a:lnTo>
                    <a:lnTo>
                      <a:pt x="753" y="450"/>
                    </a:lnTo>
                    <a:lnTo>
                      <a:pt x="762" y="468"/>
                    </a:lnTo>
                    <a:lnTo>
                      <a:pt x="807" y="45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6" name="Freeform 49"/>
              <p:cNvSpPr>
                <a:spLocks/>
              </p:cNvSpPr>
              <p:nvPr/>
            </p:nvSpPr>
            <p:spPr bwMode="auto">
              <a:xfrm>
                <a:off x="2137" y="3245"/>
                <a:ext cx="182" cy="298"/>
              </a:xfrm>
              <a:custGeom>
                <a:avLst/>
                <a:gdLst>
                  <a:gd name="T0" fmla="*/ 0 w 456"/>
                  <a:gd name="T1" fmla="*/ 0 h 915"/>
                  <a:gd name="T2" fmla="*/ 0 w 456"/>
                  <a:gd name="T3" fmla="*/ 0 h 915"/>
                  <a:gd name="T4" fmla="*/ 0 w 456"/>
                  <a:gd name="T5" fmla="*/ 0 h 915"/>
                  <a:gd name="T6" fmla="*/ 0 w 456"/>
                  <a:gd name="T7" fmla="*/ 0 h 915"/>
                  <a:gd name="T8" fmla="*/ 0 w 456"/>
                  <a:gd name="T9" fmla="*/ 0 h 915"/>
                  <a:gd name="T10" fmla="*/ 0 w 456"/>
                  <a:gd name="T11" fmla="*/ 0 h 915"/>
                  <a:gd name="T12" fmla="*/ 0 w 456"/>
                  <a:gd name="T13" fmla="*/ 0 h 915"/>
                  <a:gd name="T14" fmla="*/ 0 w 456"/>
                  <a:gd name="T15" fmla="*/ 0 h 915"/>
                  <a:gd name="T16" fmla="*/ 0 w 456"/>
                  <a:gd name="T17" fmla="*/ 0 h 915"/>
                  <a:gd name="T18" fmla="*/ 0 w 456"/>
                  <a:gd name="T19" fmla="*/ 0 h 915"/>
                  <a:gd name="T20" fmla="*/ 0 w 456"/>
                  <a:gd name="T21" fmla="*/ 0 h 915"/>
                  <a:gd name="T22" fmla="*/ 0 w 456"/>
                  <a:gd name="T23" fmla="*/ 0 h 915"/>
                  <a:gd name="T24" fmla="*/ 0 w 456"/>
                  <a:gd name="T25" fmla="*/ 0 h 915"/>
                  <a:gd name="T26" fmla="*/ 0 w 456"/>
                  <a:gd name="T27" fmla="*/ 0 h 915"/>
                  <a:gd name="T28" fmla="*/ 0 w 456"/>
                  <a:gd name="T29" fmla="*/ 0 h 915"/>
                  <a:gd name="T30" fmla="*/ 0 w 456"/>
                  <a:gd name="T31" fmla="*/ 0 h 915"/>
                  <a:gd name="T32" fmla="*/ 0 w 456"/>
                  <a:gd name="T33" fmla="*/ 0 h 915"/>
                  <a:gd name="T34" fmla="*/ 0 w 456"/>
                  <a:gd name="T35" fmla="*/ 0 h 915"/>
                  <a:gd name="T36" fmla="*/ 0 w 456"/>
                  <a:gd name="T37" fmla="*/ 0 h 915"/>
                  <a:gd name="T38" fmla="*/ 0 w 456"/>
                  <a:gd name="T39" fmla="*/ 0 h 915"/>
                  <a:gd name="T40" fmla="*/ 0 w 456"/>
                  <a:gd name="T41" fmla="*/ 0 h 915"/>
                  <a:gd name="T42" fmla="*/ 0 w 456"/>
                  <a:gd name="T43" fmla="*/ 0 h 915"/>
                  <a:gd name="T44" fmla="*/ 0 w 456"/>
                  <a:gd name="T45" fmla="*/ 0 h 915"/>
                  <a:gd name="T46" fmla="*/ 0 w 456"/>
                  <a:gd name="T47" fmla="*/ 0 h 915"/>
                  <a:gd name="T48" fmla="*/ 0 w 456"/>
                  <a:gd name="T49" fmla="*/ 0 h 915"/>
                  <a:gd name="T50" fmla="*/ 0 w 456"/>
                  <a:gd name="T51" fmla="*/ 0 h 915"/>
                  <a:gd name="T52" fmla="*/ 0 w 456"/>
                  <a:gd name="T53" fmla="*/ 0 h 915"/>
                  <a:gd name="T54" fmla="*/ 0 w 456"/>
                  <a:gd name="T55" fmla="*/ 0 h 915"/>
                  <a:gd name="T56" fmla="*/ 0 w 456"/>
                  <a:gd name="T57" fmla="*/ 0 h 915"/>
                  <a:gd name="T58" fmla="*/ 0 w 456"/>
                  <a:gd name="T59" fmla="*/ 0 h 915"/>
                  <a:gd name="T60" fmla="*/ 0 w 456"/>
                  <a:gd name="T61" fmla="*/ 0 h 915"/>
                  <a:gd name="T62" fmla="*/ 0 w 456"/>
                  <a:gd name="T63" fmla="*/ 0 h 915"/>
                  <a:gd name="T64" fmla="*/ 0 w 456"/>
                  <a:gd name="T65" fmla="*/ 0 h 915"/>
                  <a:gd name="T66" fmla="*/ 0 w 456"/>
                  <a:gd name="T67" fmla="*/ 0 h 915"/>
                  <a:gd name="T68" fmla="*/ 0 w 456"/>
                  <a:gd name="T69" fmla="*/ 0 h 91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56"/>
                  <a:gd name="T106" fmla="*/ 0 h 915"/>
                  <a:gd name="T107" fmla="*/ 456 w 456"/>
                  <a:gd name="T108" fmla="*/ 915 h 91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56" h="915">
                    <a:moveTo>
                      <a:pt x="0" y="525"/>
                    </a:moveTo>
                    <a:lnTo>
                      <a:pt x="0" y="489"/>
                    </a:lnTo>
                    <a:lnTo>
                      <a:pt x="12" y="456"/>
                    </a:lnTo>
                    <a:lnTo>
                      <a:pt x="60" y="468"/>
                    </a:lnTo>
                    <a:lnTo>
                      <a:pt x="174" y="420"/>
                    </a:lnTo>
                    <a:lnTo>
                      <a:pt x="234" y="426"/>
                    </a:lnTo>
                    <a:lnTo>
                      <a:pt x="240" y="387"/>
                    </a:lnTo>
                    <a:lnTo>
                      <a:pt x="216" y="357"/>
                    </a:lnTo>
                    <a:lnTo>
                      <a:pt x="168" y="339"/>
                    </a:lnTo>
                    <a:lnTo>
                      <a:pt x="141" y="273"/>
                    </a:lnTo>
                    <a:lnTo>
                      <a:pt x="186" y="267"/>
                    </a:lnTo>
                    <a:lnTo>
                      <a:pt x="216" y="315"/>
                    </a:lnTo>
                    <a:lnTo>
                      <a:pt x="234" y="300"/>
                    </a:lnTo>
                    <a:lnTo>
                      <a:pt x="216" y="207"/>
                    </a:lnTo>
                    <a:lnTo>
                      <a:pt x="192" y="168"/>
                    </a:lnTo>
                    <a:lnTo>
                      <a:pt x="189" y="132"/>
                    </a:lnTo>
                    <a:lnTo>
                      <a:pt x="204" y="96"/>
                    </a:lnTo>
                    <a:lnTo>
                      <a:pt x="225" y="180"/>
                    </a:lnTo>
                    <a:lnTo>
                      <a:pt x="243" y="141"/>
                    </a:lnTo>
                    <a:lnTo>
                      <a:pt x="219" y="63"/>
                    </a:lnTo>
                    <a:lnTo>
                      <a:pt x="189" y="63"/>
                    </a:lnTo>
                    <a:lnTo>
                      <a:pt x="171" y="9"/>
                    </a:lnTo>
                    <a:lnTo>
                      <a:pt x="207" y="0"/>
                    </a:lnTo>
                    <a:lnTo>
                      <a:pt x="270" y="60"/>
                    </a:lnTo>
                    <a:lnTo>
                      <a:pt x="333" y="186"/>
                    </a:lnTo>
                    <a:lnTo>
                      <a:pt x="369" y="249"/>
                    </a:lnTo>
                    <a:lnTo>
                      <a:pt x="378" y="306"/>
                    </a:lnTo>
                    <a:lnTo>
                      <a:pt x="402" y="351"/>
                    </a:lnTo>
                    <a:lnTo>
                      <a:pt x="429" y="387"/>
                    </a:lnTo>
                    <a:lnTo>
                      <a:pt x="456" y="414"/>
                    </a:lnTo>
                    <a:lnTo>
                      <a:pt x="432" y="453"/>
                    </a:lnTo>
                    <a:lnTo>
                      <a:pt x="387" y="456"/>
                    </a:lnTo>
                    <a:lnTo>
                      <a:pt x="339" y="468"/>
                    </a:lnTo>
                    <a:lnTo>
                      <a:pt x="306" y="492"/>
                    </a:lnTo>
                    <a:lnTo>
                      <a:pt x="306" y="525"/>
                    </a:lnTo>
                    <a:lnTo>
                      <a:pt x="252" y="531"/>
                    </a:lnTo>
                    <a:lnTo>
                      <a:pt x="204" y="510"/>
                    </a:lnTo>
                    <a:lnTo>
                      <a:pt x="177" y="525"/>
                    </a:lnTo>
                    <a:lnTo>
                      <a:pt x="138" y="522"/>
                    </a:lnTo>
                    <a:lnTo>
                      <a:pt x="117" y="543"/>
                    </a:lnTo>
                    <a:lnTo>
                      <a:pt x="135" y="612"/>
                    </a:lnTo>
                    <a:lnTo>
                      <a:pt x="174" y="609"/>
                    </a:lnTo>
                    <a:lnTo>
                      <a:pt x="174" y="564"/>
                    </a:lnTo>
                    <a:lnTo>
                      <a:pt x="201" y="543"/>
                    </a:lnTo>
                    <a:lnTo>
                      <a:pt x="324" y="546"/>
                    </a:lnTo>
                    <a:lnTo>
                      <a:pt x="363" y="579"/>
                    </a:lnTo>
                    <a:lnTo>
                      <a:pt x="387" y="627"/>
                    </a:lnTo>
                    <a:lnTo>
                      <a:pt x="351" y="657"/>
                    </a:lnTo>
                    <a:lnTo>
                      <a:pt x="297" y="666"/>
                    </a:lnTo>
                    <a:lnTo>
                      <a:pt x="297" y="708"/>
                    </a:lnTo>
                    <a:lnTo>
                      <a:pt x="306" y="744"/>
                    </a:lnTo>
                    <a:lnTo>
                      <a:pt x="285" y="774"/>
                    </a:lnTo>
                    <a:lnTo>
                      <a:pt x="222" y="771"/>
                    </a:lnTo>
                    <a:lnTo>
                      <a:pt x="240" y="804"/>
                    </a:lnTo>
                    <a:lnTo>
                      <a:pt x="309" y="825"/>
                    </a:lnTo>
                    <a:lnTo>
                      <a:pt x="285" y="876"/>
                    </a:lnTo>
                    <a:lnTo>
                      <a:pt x="285" y="897"/>
                    </a:lnTo>
                    <a:lnTo>
                      <a:pt x="255" y="915"/>
                    </a:lnTo>
                    <a:lnTo>
                      <a:pt x="219" y="909"/>
                    </a:lnTo>
                    <a:lnTo>
                      <a:pt x="192" y="876"/>
                    </a:lnTo>
                    <a:lnTo>
                      <a:pt x="171" y="843"/>
                    </a:lnTo>
                    <a:lnTo>
                      <a:pt x="114" y="801"/>
                    </a:lnTo>
                    <a:lnTo>
                      <a:pt x="99" y="768"/>
                    </a:lnTo>
                    <a:lnTo>
                      <a:pt x="51" y="729"/>
                    </a:lnTo>
                    <a:lnTo>
                      <a:pt x="48" y="666"/>
                    </a:lnTo>
                    <a:lnTo>
                      <a:pt x="9" y="633"/>
                    </a:lnTo>
                    <a:lnTo>
                      <a:pt x="78" y="627"/>
                    </a:lnTo>
                    <a:lnTo>
                      <a:pt x="78" y="579"/>
                    </a:lnTo>
                    <a:lnTo>
                      <a:pt x="42" y="537"/>
                    </a:lnTo>
                    <a:lnTo>
                      <a:pt x="0" y="52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7" name="Freeform 50"/>
              <p:cNvSpPr>
                <a:spLocks/>
              </p:cNvSpPr>
              <p:nvPr/>
            </p:nvSpPr>
            <p:spPr bwMode="auto">
              <a:xfrm>
                <a:off x="1920" y="3387"/>
                <a:ext cx="286" cy="196"/>
              </a:xfrm>
              <a:custGeom>
                <a:avLst/>
                <a:gdLst>
                  <a:gd name="T0" fmla="*/ 0 w 717"/>
                  <a:gd name="T1" fmla="*/ 0 h 600"/>
                  <a:gd name="T2" fmla="*/ 0 w 717"/>
                  <a:gd name="T3" fmla="*/ 0 h 600"/>
                  <a:gd name="T4" fmla="*/ 0 w 717"/>
                  <a:gd name="T5" fmla="*/ 0 h 600"/>
                  <a:gd name="T6" fmla="*/ 0 w 717"/>
                  <a:gd name="T7" fmla="*/ 0 h 600"/>
                  <a:gd name="T8" fmla="*/ 0 w 717"/>
                  <a:gd name="T9" fmla="*/ 0 h 600"/>
                  <a:gd name="T10" fmla="*/ 0 w 717"/>
                  <a:gd name="T11" fmla="*/ 0 h 600"/>
                  <a:gd name="T12" fmla="*/ 0 w 717"/>
                  <a:gd name="T13" fmla="*/ 0 h 600"/>
                  <a:gd name="T14" fmla="*/ 0 w 717"/>
                  <a:gd name="T15" fmla="*/ 0 h 600"/>
                  <a:gd name="T16" fmla="*/ 0 w 717"/>
                  <a:gd name="T17" fmla="*/ 0 h 600"/>
                  <a:gd name="T18" fmla="*/ 0 w 717"/>
                  <a:gd name="T19" fmla="*/ 0 h 600"/>
                  <a:gd name="T20" fmla="*/ 0 w 717"/>
                  <a:gd name="T21" fmla="*/ 0 h 600"/>
                  <a:gd name="T22" fmla="*/ 0 w 717"/>
                  <a:gd name="T23" fmla="*/ 0 h 600"/>
                  <a:gd name="T24" fmla="*/ 0 w 717"/>
                  <a:gd name="T25" fmla="*/ 0 h 600"/>
                  <a:gd name="T26" fmla="*/ 0 w 717"/>
                  <a:gd name="T27" fmla="*/ 0 h 600"/>
                  <a:gd name="T28" fmla="*/ 0 w 717"/>
                  <a:gd name="T29" fmla="*/ 0 h 600"/>
                  <a:gd name="T30" fmla="*/ 0 w 717"/>
                  <a:gd name="T31" fmla="*/ 0 h 600"/>
                  <a:gd name="T32" fmla="*/ 0 w 717"/>
                  <a:gd name="T33" fmla="*/ 0 h 600"/>
                  <a:gd name="T34" fmla="*/ 0 w 717"/>
                  <a:gd name="T35" fmla="*/ 0 h 600"/>
                  <a:gd name="T36" fmla="*/ 0 w 717"/>
                  <a:gd name="T37" fmla="*/ 0 h 600"/>
                  <a:gd name="T38" fmla="*/ 0 w 717"/>
                  <a:gd name="T39" fmla="*/ 0 h 600"/>
                  <a:gd name="T40" fmla="*/ 0 w 717"/>
                  <a:gd name="T41" fmla="*/ 0 h 600"/>
                  <a:gd name="T42" fmla="*/ 0 w 717"/>
                  <a:gd name="T43" fmla="*/ 0 h 600"/>
                  <a:gd name="T44" fmla="*/ 0 w 717"/>
                  <a:gd name="T45" fmla="*/ 0 h 600"/>
                  <a:gd name="T46" fmla="*/ 0 w 717"/>
                  <a:gd name="T47" fmla="*/ 0 h 600"/>
                  <a:gd name="T48" fmla="*/ 0 w 717"/>
                  <a:gd name="T49" fmla="*/ 0 h 600"/>
                  <a:gd name="T50" fmla="*/ 0 w 717"/>
                  <a:gd name="T51" fmla="*/ 0 h 600"/>
                  <a:gd name="T52" fmla="*/ 0 w 717"/>
                  <a:gd name="T53" fmla="*/ 0 h 600"/>
                  <a:gd name="T54" fmla="*/ 0 w 717"/>
                  <a:gd name="T55" fmla="*/ 0 h 600"/>
                  <a:gd name="T56" fmla="*/ 0 w 717"/>
                  <a:gd name="T57" fmla="*/ 0 h 600"/>
                  <a:gd name="T58" fmla="*/ 0 w 717"/>
                  <a:gd name="T59" fmla="*/ 0 h 600"/>
                  <a:gd name="T60" fmla="*/ 0 w 717"/>
                  <a:gd name="T61" fmla="*/ 0 h 600"/>
                  <a:gd name="T62" fmla="*/ 0 w 717"/>
                  <a:gd name="T63" fmla="*/ 0 h 600"/>
                  <a:gd name="T64" fmla="*/ 0 w 717"/>
                  <a:gd name="T65" fmla="*/ 0 h 600"/>
                  <a:gd name="T66" fmla="*/ 0 w 717"/>
                  <a:gd name="T67" fmla="*/ 0 h 600"/>
                  <a:gd name="T68" fmla="*/ 0 w 717"/>
                  <a:gd name="T69" fmla="*/ 0 h 600"/>
                  <a:gd name="T70" fmla="*/ 0 w 717"/>
                  <a:gd name="T71" fmla="*/ 0 h 600"/>
                  <a:gd name="T72" fmla="*/ 0 w 717"/>
                  <a:gd name="T73" fmla="*/ 0 h 600"/>
                  <a:gd name="T74" fmla="*/ 0 w 717"/>
                  <a:gd name="T75" fmla="*/ 0 h 600"/>
                  <a:gd name="T76" fmla="*/ 0 w 717"/>
                  <a:gd name="T77" fmla="*/ 0 h 600"/>
                  <a:gd name="T78" fmla="*/ 0 w 717"/>
                  <a:gd name="T79" fmla="*/ 0 h 600"/>
                  <a:gd name="T80" fmla="*/ 0 w 717"/>
                  <a:gd name="T81" fmla="*/ 0 h 600"/>
                  <a:gd name="T82" fmla="*/ 0 w 717"/>
                  <a:gd name="T83" fmla="*/ 0 h 600"/>
                  <a:gd name="T84" fmla="*/ 0 w 717"/>
                  <a:gd name="T85" fmla="*/ 0 h 600"/>
                  <a:gd name="T86" fmla="*/ 0 w 717"/>
                  <a:gd name="T87" fmla="*/ 0 h 600"/>
                  <a:gd name="T88" fmla="*/ 0 w 717"/>
                  <a:gd name="T89" fmla="*/ 0 h 600"/>
                  <a:gd name="T90" fmla="*/ 0 w 717"/>
                  <a:gd name="T91" fmla="*/ 0 h 600"/>
                  <a:gd name="T92" fmla="*/ 0 w 717"/>
                  <a:gd name="T93" fmla="*/ 0 h 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17"/>
                  <a:gd name="T142" fmla="*/ 0 h 600"/>
                  <a:gd name="T143" fmla="*/ 717 w 717"/>
                  <a:gd name="T144" fmla="*/ 600 h 6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17" h="600">
                    <a:moveTo>
                      <a:pt x="273" y="579"/>
                    </a:moveTo>
                    <a:lnTo>
                      <a:pt x="270" y="522"/>
                    </a:lnTo>
                    <a:lnTo>
                      <a:pt x="339" y="489"/>
                    </a:lnTo>
                    <a:lnTo>
                      <a:pt x="387" y="483"/>
                    </a:lnTo>
                    <a:lnTo>
                      <a:pt x="432" y="450"/>
                    </a:lnTo>
                    <a:lnTo>
                      <a:pt x="450" y="483"/>
                    </a:lnTo>
                    <a:lnTo>
                      <a:pt x="450" y="507"/>
                    </a:lnTo>
                    <a:lnTo>
                      <a:pt x="516" y="522"/>
                    </a:lnTo>
                    <a:lnTo>
                      <a:pt x="549" y="501"/>
                    </a:lnTo>
                    <a:lnTo>
                      <a:pt x="651" y="492"/>
                    </a:lnTo>
                    <a:lnTo>
                      <a:pt x="717" y="414"/>
                    </a:lnTo>
                    <a:lnTo>
                      <a:pt x="660" y="360"/>
                    </a:lnTo>
                    <a:lnTo>
                      <a:pt x="642" y="330"/>
                    </a:lnTo>
                    <a:lnTo>
                      <a:pt x="597" y="291"/>
                    </a:lnTo>
                    <a:lnTo>
                      <a:pt x="594" y="228"/>
                    </a:lnTo>
                    <a:lnTo>
                      <a:pt x="558" y="201"/>
                    </a:lnTo>
                    <a:lnTo>
                      <a:pt x="621" y="195"/>
                    </a:lnTo>
                    <a:lnTo>
                      <a:pt x="621" y="141"/>
                    </a:lnTo>
                    <a:lnTo>
                      <a:pt x="582" y="99"/>
                    </a:lnTo>
                    <a:lnTo>
                      <a:pt x="534" y="84"/>
                    </a:lnTo>
                    <a:lnTo>
                      <a:pt x="516" y="126"/>
                    </a:lnTo>
                    <a:lnTo>
                      <a:pt x="456" y="126"/>
                    </a:lnTo>
                    <a:lnTo>
                      <a:pt x="453" y="102"/>
                    </a:lnTo>
                    <a:lnTo>
                      <a:pt x="471" y="18"/>
                    </a:lnTo>
                    <a:lnTo>
                      <a:pt x="420" y="21"/>
                    </a:lnTo>
                    <a:lnTo>
                      <a:pt x="339" y="18"/>
                    </a:lnTo>
                    <a:lnTo>
                      <a:pt x="330" y="0"/>
                    </a:lnTo>
                    <a:lnTo>
                      <a:pt x="267" y="54"/>
                    </a:lnTo>
                    <a:lnTo>
                      <a:pt x="225" y="54"/>
                    </a:lnTo>
                    <a:lnTo>
                      <a:pt x="210" y="21"/>
                    </a:lnTo>
                    <a:lnTo>
                      <a:pt x="180" y="78"/>
                    </a:lnTo>
                    <a:lnTo>
                      <a:pt x="147" y="81"/>
                    </a:lnTo>
                    <a:lnTo>
                      <a:pt x="117" y="114"/>
                    </a:lnTo>
                    <a:lnTo>
                      <a:pt x="117" y="138"/>
                    </a:lnTo>
                    <a:lnTo>
                      <a:pt x="48" y="240"/>
                    </a:lnTo>
                    <a:lnTo>
                      <a:pt x="39" y="273"/>
                    </a:lnTo>
                    <a:lnTo>
                      <a:pt x="0" y="351"/>
                    </a:lnTo>
                    <a:lnTo>
                      <a:pt x="60" y="360"/>
                    </a:lnTo>
                    <a:lnTo>
                      <a:pt x="66" y="384"/>
                    </a:lnTo>
                    <a:lnTo>
                      <a:pt x="99" y="387"/>
                    </a:lnTo>
                    <a:lnTo>
                      <a:pt x="144" y="435"/>
                    </a:lnTo>
                    <a:lnTo>
                      <a:pt x="156" y="510"/>
                    </a:lnTo>
                    <a:lnTo>
                      <a:pt x="180" y="555"/>
                    </a:lnTo>
                    <a:lnTo>
                      <a:pt x="177" y="588"/>
                    </a:lnTo>
                    <a:lnTo>
                      <a:pt x="216" y="600"/>
                    </a:lnTo>
                    <a:lnTo>
                      <a:pt x="237" y="582"/>
                    </a:lnTo>
                    <a:lnTo>
                      <a:pt x="273" y="579"/>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8" name="Freeform 51"/>
              <p:cNvSpPr>
                <a:spLocks/>
              </p:cNvSpPr>
              <p:nvPr/>
            </p:nvSpPr>
            <p:spPr bwMode="auto">
              <a:xfrm>
                <a:off x="1895" y="3701"/>
                <a:ext cx="4" cy="3"/>
              </a:xfrm>
              <a:custGeom>
                <a:avLst/>
                <a:gdLst>
                  <a:gd name="T0" fmla="*/ 0 w 9"/>
                  <a:gd name="T1" fmla="*/ 0 h 9"/>
                  <a:gd name="T2" fmla="*/ 0 w 9"/>
                  <a:gd name="T3" fmla="*/ 0 h 9"/>
                  <a:gd name="T4" fmla="*/ 0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0" y="9"/>
                    </a:moveTo>
                    <a:cubicBezTo>
                      <a:pt x="3" y="6"/>
                      <a:pt x="9" y="0"/>
                      <a:pt x="9" y="0"/>
                    </a:cubicBezTo>
                    <a:cubicBezTo>
                      <a:pt x="9" y="0"/>
                      <a:pt x="3" y="6"/>
                      <a:pt x="0" y="9"/>
                    </a:cubicBez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9" name="Freeform 52"/>
              <p:cNvSpPr>
                <a:spLocks/>
              </p:cNvSpPr>
              <p:nvPr/>
            </p:nvSpPr>
            <p:spPr bwMode="auto">
              <a:xfrm>
                <a:off x="1713" y="3436"/>
                <a:ext cx="279" cy="268"/>
              </a:xfrm>
              <a:custGeom>
                <a:avLst/>
                <a:gdLst>
                  <a:gd name="T0" fmla="*/ 0 w 699"/>
                  <a:gd name="T1" fmla="*/ 0 h 822"/>
                  <a:gd name="T2" fmla="*/ 0 w 699"/>
                  <a:gd name="T3" fmla="*/ 0 h 822"/>
                  <a:gd name="T4" fmla="*/ 0 w 699"/>
                  <a:gd name="T5" fmla="*/ 0 h 822"/>
                  <a:gd name="T6" fmla="*/ 0 w 699"/>
                  <a:gd name="T7" fmla="*/ 0 h 822"/>
                  <a:gd name="T8" fmla="*/ 0 w 699"/>
                  <a:gd name="T9" fmla="*/ 0 h 822"/>
                  <a:gd name="T10" fmla="*/ 0 w 699"/>
                  <a:gd name="T11" fmla="*/ 0 h 822"/>
                  <a:gd name="T12" fmla="*/ 0 w 699"/>
                  <a:gd name="T13" fmla="*/ 0 h 822"/>
                  <a:gd name="T14" fmla="*/ 0 w 699"/>
                  <a:gd name="T15" fmla="*/ 0 h 822"/>
                  <a:gd name="T16" fmla="*/ 0 w 699"/>
                  <a:gd name="T17" fmla="*/ 0 h 822"/>
                  <a:gd name="T18" fmla="*/ 0 w 699"/>
                  <a:gd name="T19" fmla="*/ 0 h 822"/>
                  <a:gd name="T20" fmla="*/ 0 w 699"/>
                  <a:gd name="T21" fmla="*/ 0 h 822"/>
                  <a:gd name="T22" fmla="*/ 0 w 699"/>
                  <a:gd name="T23" fmla="*/ 0 h 822"/>
                  <a:gd name="T24" fmla="*/ 0 w 699"/>
                  <a:gd name="T25" fmla="*/ 0 h 822"/>
                  <a:gd name="T26" fmla="*/ 0 w 699"/>
                  <a:gd name="T27" fmla="*/ 0 h 822"/>
                  <a:gd name="T28" fmla="*/ 0 w 699"/>
                  <a:gd name="T29" fmla="*/ 0 h 822"/>
                  <a:gd name="T30" fmla="*/ 0 w 699"/>
                  <a:gd name="T31" fmla="*/ 0 h 822"/>
                  <a:gd name="T32" fmla="*/ 0 w 699"/>
                  <a:gd name="T33" fmla="*/ 0 h 822"/>
                  <a:gd name="T34" fmla="*/ 0 w 699"/>
                  <a:gd name="T35" fmla="*/ 0 h 822"/>
                  <a:gd name="T36" fmla="*/ 0 w 699"/>
                  <a:gd name="T37" fmla="*/ 0 h 822"/>
                  <a:gd name="T38" fmla="*/ 0 w 699"/>
                  <a:gd name="T39" fmla="*/ 0 h 822"/>
                  <a:gd name="T40" fmla="*/ 0 w 699"/>
                  <a:gd name="T41" fmla="*/ 0 h 822"/>
                  <a:gd name="T42" fmla="*/ 0 w 699"/>
                  <a:gd name="T43" fmla="*/ 0 h 822"/>
                  <a:gd name="T44" fmla="*/ 0 w 699"/>
                  <a:gd name="T45" fmla="*/ 0 h 822"/>
                  <a:gd name="T46" fmla="*/ 0 w 699"/>
                  <a:gd name="T47" fmla="*/ 0 h 822"/>
                  <a:gd name="T48" fmla="*/ 0 w 699"/>
                  <a:gd name="T49" fmla="*/ 0 h 822"/>
                  <a:gd name="T50" fmla="*/ 0 w 699"/>
                  <a:gd name="T51" fmla="*/ 0 h 822"/>
                  <a:gd name="T52" fmla="*/ 0 w 699"/>
                  <a:gd name="T53" fmla="*/ 0 h 822"/>
                  <a:gd name="T54" fmla="*/ 0 w 699"/>
                  <a:gd name="T55" fmla="*/ 0 h 822"/>
                  <a:gd name="T56" fmla="*/ 0 w 699"/>
                  <a:gd name="T57" fmla="*/ 0 h 822"/>
                  <a:gd name="T58" fmla="*/ 0 w 699"/>
                  <a:gd name="T59" fmla="*/ 0 h 822"/>
                  <a:gd name="T60" fmla="*/ 0 w 699"/>
                  <a:gd name="T61" fmla="*/ 0 h 822"/>
                  <a:gd name="T62" fmla="*/ 0 w 699"/>
                  <a:gd name="T63" fmla="*/ 0 h 822"/>
                  <a:gd name="T64" fmla="*/ 0 w 699"/>
                  <a:gd name="T65" fmla="*/ 0 h 822"/>
                  <a:gd name="T66" fmla="*/ 0 w 699"/>
                  <a:gd name="T67" fmla="*/ 0 h 822"/>
                  <a:gd name="T68" fmla="*/ 0 w 699"/>
                  <a:gd name="T69" fmla="*/ 0 h 822"/>
                  <a:gd name="T70" fmla="*/ 0 w 699"/>
                  <a:gd name="T71" fmla="*/ 0 h 822"/>
                  <a:gd name="T72" fmla="*/ 0 w 699"/>
                  <a:gd name="T73" fmla="*/ 0 h 822"/>
                  <a:gd name="T74" fmla="*/ 0 w 699"/>
                  <a:gd name="T75" fmla="*/ 0 h 822"/>
                  <a:gd name="T76" fmla="*/ 0 w 699"/>
                  <a:gd name="T77" fmla="*/ 0 h 822"/>
                  <a:gd name="T78" fmla="*/ 0 w 699"/>
                  <a:gd name="T79" fmla="*/ 0 h 822"/>
                  <a:gd name="T80" fmla="*/ 0 w 699"/>
                  <a:gd name="T81" fmla="*/ 0 h 822"/>
                  <a:gd name="T82" fmla="*/ 0 w 699"/>
                  <a:gd name="T83" fmla="*/ 0 h 822"/>
                  <a:gd name="T84" fmla="*/ 0 w 699"/>
                  <a:gd name="T85" fmla="*/ 0 h 822"/>
                  <a:gd name="T86" fmla="*/ 0 w 699"/>
                  <a:gd name="T87" fmla="*/ 0 h 822"/>
                  <a:gd name="T88" fmla="*/ 0 w 699"/>
                  <a:gd name="T89" fmla="*/ 0 h 822"/>
                  <a:gd name="T90" fmla="*/ 0 w 699"/>
                  <a:gd name="T91" fmla="*/ 0 h 822"/>
                  <a:gd name="T92" fmla="*/ 0 w 699"/>
                  <a:gd name="T93" fmla="*/ 0 h 822"/>
                  <a:gd name="T94" fmla="*/ 0 w 699"/>
                  <a:gd name="T95" fmla="*/ 0 h 822"/>
                  <a:gd name="T96" fmla="*/ 0 w 699"/>
                  <a:gd name="T97" fmla="*/ 0 h 822"/>
                  <a:gd name="T98" fmla="*/ 0 w 699"/>
                  <a:gd name="T99" fmla="*/ 0 h 822"/>
                  <a:gd name="T100" fmla="*/ 0 w 699"/>
                  <a:gd name="T101" fmla="*/ 0 h 822"/>
                  <a:gd name="T102" fmla="*/ 0 w 699"/>
                  <a:gd name="T103" fmla="*/ 0 h 822"/>
                  <a:gd name="T104" fmla="*/ 0 w 699"/>
                  <a:gd name="T105" fmla="*/ 0 h 822"/>
                  <a:gd name="T106" fmla="*/ 0 w 699"/>
                  <a:gd name="T107" fmla="*/ 0 h 822"/>
                  <a:gd name="T108" fmla="*/ 0 w 699"/>
                  <a:gd name="T109" fmla="*/ 0 h 822"/>
                  <a:gd name="T110" fmla="*/ 0 w 699"/>
                  <a:gd name="T111" fmla="*/ 0 h 822"/>
                  <a:gd name="T112" fmla="*/ 0 w 699"/>
                  <a:gd name="T113" fmla="*/ 0 h 8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9"/>
                  <a:gd name="T172" fmla="*/ 0 h 822"/>
                  <a:gd name="T173" fmla="*/ 699 w 699"/>
                  <a:gd name="T174" fmla="*/ 822 h 8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9" h="822">
                    <a:moveTo>
                      <a:pt x="432" y="765"/>
                    </a:moveTo>
                    <a:lnTo>
                      <a:pt x="429" y="822"/>
                    </a:lnTo>
                    <a:lnTo>
                      <a:pt x="465" y="822"/>
                    </a:lnTo>
                    <a:lnTo>
                      <a:pt x="555" y="738"/>
                    </a:lnTo>
                    <a:lnTo>
                      <a:pt x="573" y="699"/>
                    </a:lnTo>
                    <a:lnTo>
                      <a:pt x="582" y="663"/>
                    </a:lnTo>
                    <a:lnTo>
                      <a:pt x="540" y="657"/>
                    </a:lnTo>
                    <a:lnTo>
                      <a:pt x="537" y="624"/>
                    </a:lnTo>
                    <a:lnTo>
                      <a:pt x="519" y="591"/>
                    </a:lnTo>
                    <a:lnTo>
                      <a:pt x="528" y="528"/>
                    </a:lnTo>
                    <a:lnTo>
                      <a:pt x="576" y="489"/>
                    </a:lnTo>
                    <a:lnTo>
                      <a:pt x="645" y="486"/>
                    </a:lnTo>
                    <a:lnTo>
                      <a:pt x="636" y="444"/>
                    </a:lnTo>
                    <a:lnTo>
                      <a:pt x="672" y="426"/>
                    </a:lnTo>
                    <a:lnTo>
                      <a:pt x="693" y="438"/>
                    </a:lnTo>
                    <a:lnTo>
                      <a:pt x="699" y="411"/>
                    </a:lnTo>
                    <a:lnTo>
                      <a:pt x="675" y="339"/>
                    </a:lnTo>
                    <a:lnTo>
                      <a:pt x="660" y="288"/>
                    </a:lnTo>
                    <a:lnTo>
                      <a:pt x="615" y="234"/>
                    </a:lnTo>
                    <a:lnTo>
                      <a:pt x="585" y="237"/>
                    </a:lnTo>
                    <a:lnTo>
                      <a:pt x="576" y="213"/>
                    </a:lnTo>
                    <a:lnTo>
                      <a:pt x="516" y="201"/>
                    </a:lnTo>
                    <a:lnTo>
                      <a:pt x="561" y="114"/>
                    </a:lnTo>
                    <a:lnTo>
                      <a:pt x="561" y="84"/>
                    </a:lnTo>
                    <a:lnTo>
                      <a:pt x="480" y="27"/>
                    </a:lnTo>
                    <a:lnTo>
                      <a:pt x="333" y="6"/>
                    </a:lnTo>
                    <a:lnTo>
                      <a:pt x="231" y="36"/>
                    </a:lnTo>
                    <a:lnTo>
                      <a:pt x="198" y="0"/>
                    </a:lnTo>
                    <a:lnTo>
                      <a:pt x="180" y="30"/>
                    </a:lnTo>
                    <a:lnTo>
                      <a:pt x="189" y="69"/>
                    </a:lnTo>
                    <a:lnTo>
                      <a:pt x="216" y="105"/>
                    </a:lnTo>
                    <a:lnTo>
                      <a:pt x="213" y="153"/>
                    </a:lnTo>
                    <a:lnTo>
                      <a:pt x="102" y="165"/>
                    </a:lnTo>
                    <a:lnTo>
                      <a:pt x="81" y="249"/>
                    </a:lnTo>
                    <a:lnTo>
                      <a:pt x="27" y="288"/>
                    </a:lnTo>
                    <a:lnTo>
                      <a:pt x="9" y="330"/>
                    </a:lnTo>
                    <a:lnTo>
                      <a:pt x="51" y="366"/>
                    </a:lnTo>
                    <a:lnTo>
                      <a:pt x="33" y="393"/>
                    </a:lnTo>
                    <a:lnTo>
                      <a:pt x="27" y="525"/>
                    </a:lnTo>
                    <a:lnTo>
                      <a:pt x="54" y="552"/>
                    </a:lnTo>
                    <a:lnTo>
                      <a:pt x="63" y="588"/>
                    </a:lnTo>
                    <a:lnTo>
                      <a:pt x="21" y="573"/>
                    </a:lnTo>
                    <a:lnTo>
                      <a:pt x="0" y="582"/>
                    </a:lnTo>
                    <a:lnTo>
                      <a:pt x="48" y="615"/>
                    </a:lnTo>
                    <a:lnTo>
                      <a:pt x="90" y="639"/>
                    </a:lnTo>
                    <a:lnTo>
                      <a:pt x="99" y="672"/>
                    </a:lnTo>
                    <a:lnTo>
                      <a:pt x="183" y="669"/>
                    </a:lnTo>
                    <a:lnTo>
                      <a:pt x="204" y="705"/>
                    </a:lnTo>
                    <a:lnTo>
                      <a:pt x="213" y="720"/>
                    </a:lnTo>
                    <a:lnTo>
                      <a:pt x="219" y="732"/>
                    </a:lnTo>
                    <a:lnTo>
                      <a:pt x="231" y="750"/>
                    </a:lnTo>
                    <a:lnTo>
                      <a:pt x="231" y="768"/>
                    </a:lnTo>
                    <a:lnTo>
                      <a:pt x="261" y="774"/>
                    </a:lnTo>
                    <a:lnTo>
                      <a:pt x="276" y="798"/>
                    </a:lnTo>
                    <a:lnTo>
                      <a:pt x="381" y="804"/>
                    </a:lnTo>
                    <a:lnTo>
                      <a:pt x="399" y="780"/>
                    </a:lnTo>
                    <a:lnTo>
                      <a:pt x="432" y="76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0" name="Freeform 53"/>
              <p:cNvSpPr>
                <a:spLocks/>
              </p:cNvSpPr>
              <p:nvPr/>
            </p:nvSpPr>
            <p:spPr bwMode="auto">
              <a:xfrm>
                <a:off x="2175" y="3449"/>
                <a:ext cx="214" cy="242"/>
              </a:xfrm>
              <a:custGeom>
                <a:avLst/>
                <a:gdLst>
                  <a:gd name="T0" fmla="*/ 0 w 537"/>
                  <a:gd name="T1" fmla="*/ 0 h 744"/>
                  <a:gd name="T2" fmla="*/ 0 w 537"/>
                  <a:gd name="T3" fmla="*/ 0 h 744"/>
                  <a:gd name="T4" fmla="*/ 0 w 537"/>
                  <a:gd name="T5" fmla="*/ 0 h 744"/>
                  <a:gd name="T6" fmla="*/ 0 w 537"/>
                  <a:gd name="T7" fmla="*/ 0 h 744"/>
                  <a:gd name="T8" fmla="*/ 0 w 537"/>
                  <a:gd name="T9" fmla="*/ 0 h 744"/>
                  <a:gd name="T10" fmla="*/ 0 w 537"/>
                  <a:gd name="T11" fmla="*/ 0 h 744"/>
                  <a:gd name="T12" fmla="*/ 0 w 537"/>
                  <a:gd name="T13" fmla="*/ 0 h 744"/>
                  <a:gd name="T14" fmla="*/ 0 w 537"/>
                  <a:gd name="T15" fmla="*/ 0 h 744"/>
                  <a:gd name="T16" fmla="*/ 0 w 537"/>
                  <a:gd name="T17" fmla="*/ 0 h 744"/>
                  <a:gd name="T18" fmla="*/ 0 w 537"/>
                  <a:gd name="T19" fmla="*/ 0 h 744"/>
                  <a:gd name="T20" fmla="*/ 0 w 537"/>
                  <a:gd name="T21" fmla="*/ 0 h 744"/>
                  <a:gd name="T22" fmla="*/ 0 w 537"/>
                  <a:gd name="T23" fmla="*/ 0 h 744"/>
                  <a:gd name="T24" fmla="*/ 0 w 537"/>
                  <a:gd name="T25" fmla="*/ 0 h 744"/>
                  <a:gd name="T26" fmla="*/ 0 w 537"/>
                  <a:gd name="T27" fmla="*/ 0 h 744"/>
                  <a:gd name="T28" fmla="*/ 0 w 537"/>
                  <a:gd name="T29" fmla="*/ 0 h 744"/>
                  <a:gd name="T30" fmla="*/ 0 w 537"/>
                  <a:gd name="T31" fmla="*/ 0 h 744"/>
                  <a:gd name="T32" fmla="*/ 0 w 537"/>
                  <a:gd name="T33" fmla="*/ 0 h 744"/>
                  <a:gd name="T34" fmla="*/ 0 w 537"/>
                  <a:gd name="T35" fmla="*/ 0 h 744"/>
                  <a:gd name="T36" fmla="*/ 0 w 537"/>
                  <a:gd name="T37" fmla="*/ 0 h 744"/>
                  <a:gd name="T38" fmla="*/ 0 w 537"/>
                  <a:gd name="T39" fmla="*/ 0 h 744"/>
                  <a:gd name="T40" fmla="*/ 0 w 537"/>
                  <a:gd name="T41" fmla="*/ 0 h 744"/>
                  <a:gd name="T42" fmla="*/ 0 w 537"/>
                  <a:gd name="T43" fmla="*/ 0 h 744"/>
                  <a:gd name="T44" fmla="*/ 0 w 537"/>
                  <a:gd name="T45" fmla="*/ 0 h 744"/>
                  <a:gd name="T46" fmla="*/ 0 w 537"/>
                  <a:gd name="T47" fmla="*/ 0 h 744"/>
                  <a:gd name="T48" fmla="*/ 0 w 537"/>
                  <a:gd name="T49" fmla="*/ 0 h 744"/>
                  <a:gd name="T50" fmla="*/ 0 w 537"/>
                  <a:gd name="T51" fmla="*/ 0 h 744"/>
                  <a:gd name="T52" fmla="*/ 0 w 537"/>
                  <a:gd name="T53" fmla="*/ 0 h 744"/>
                  <a:gd name="T54" fmla="*/ 0 w 537"/>
                  <a:gd name="T55" fmla="*/ 0 h 744"/>
                  <a:gd name="T56" fmla="*/ 0 w 537"/>
                  <a:gd name="T57" fmla="*/ 0 h 744"/>
                  <a:gd name="T58" fmla="*/ 0 w 537"/>
                  <a:gd name="T59" fmla="*/ 0 h 744"/>
                  <a:gd name="T60" fmla="*/ 0 w 537"/>
                  <a:gd name="T61" fmla="*/ 0 h 744"/>
                  <a:gd name="T62" fmla="*/ 0 w 537"/>
                  <a:gd name="T63" fmla="*/ 0 h 744"/>
                  <a:gd name="T64" fmla="*/ 0 w 537"/>
                  <a:gd name="T65" fmla="*/ 0 h 744"/>
                  <a:gd name="T66" fmla="*/ 0 w 537"/>
                  <a:gd name="T67" fmla="*/ 0 h 744"/>
                  <a:gd name="T68" fmla="*/ 0 w 537"/>
                  <a:gd name="T69" fmla="*/ 0 h 744"/>
                  <a:gd name="T70" fmla="*/ 0 w 537"/>
                  <a:gd name="T71" fmla="*/ 0 h 744"/>
                  <a:gd name="T72" fmla="*/ 0 w 537"/>
                  <a:gd name="T73" fmla="*/ 0 h 744"/>
                  <a:gd name="T74" fmla="*/ 0 w 537"/>
                  <a:gd name="T75" fmla="*/ 0 h 744"/>
                  <a:gd name="T76" fmla="*/ 0 w 537"/>
                  <a:gd name="T77" fmla="*/ 0 h 744"/>
                  <a:gd name="T78" fmla="*/ 0 w 537"/>
                  <a:gd name="T79" fmla="*/ 0 h 744"/>
                  <a:gd name="T80" fmla="*/ 0 w 537"/>
                  <a:gd name="T81" fmla="*/ 0 h 744"/>
                  <a:gd name="T82" fmla="*/ 0 w 537"/>
                  <a:gd name="T83" fmla="*/ 0 h 744"/>
                  <a:gd name="T84" fmla="*/ 0 w 537"/>
                  <a:gd name="T85" fmla="*/ 0 h 744"/>
                  <a:gd name="T86" fmla="*/ 0 w 537"/>
                  <a:gd name="T87" fmla="*/ 0 h 744"/>
                  <a:gd name="T88" fmla="*/ 0 w 537"/>
                  <a:gd name="T89" fmla="*/ 0 h 744"/>
                  <a:gd name="T90" fmla="*/ 0 w 537"/>
                  <a:gd name="T91" fmla="*/ 0 h 744"/>
                  <a:gd name="T92" fmla="*/ 0 w 537"/>
                  <a:gd name="T93" fmla="*/ 0 h 744"/>
                  <a:gd name="T94" fmla="*/ 0 w 537"/>
                  <a:gd name="T95" fmla="*/ 0 h 744"/>
                  <a:gd name="T96" fmla="*/ 0 w 537"/>
                  <a:gd name="T97" fmla="*/ 0 h 744"/>
                  <a:gd name="T98" fmla="*/ 0 w 537"/>
                  <a:gd name="T99" fmla="*/ 0 h 744"/>
                  <a:gd name="T100" fmla="*/ 0 w 537"/>
                  <a:gd name="T101" fmla="*/ 0 h 7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7"/>
                  <a:gd name="T154" fmla="*/ 0 h 744"/>
                  <a:gd name="T155" fmla="*/ 537 w 537"/>
                  <a:gd name="T156" fmla="*/ 744 h 7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7" h="744">
                    <a:moveTo>
                      <a:pt x="537" y="375"/>
                    </a:moveTo>
                    <a:lnTo>
                      <a:pt x="474" y="303"/>
                    </a:lnTo>
                    <a:lnTo>
                      <a:pt x="450" y="231"/>
                    </a:lnTo>
                    <a:lnTo>
                      <a:pt x="396" y="114"/>
                    </a:lnTo>
                    <a:lnTo>
                      <a:pt x="327" y="48"/>
                    </a:lnTo>
                    <a:lnTo>
                      <a:pt x="321" y="6"/>
                    </a:lnTo>
                    <a:lnTo>
                      <a:pt x="285" y="0"/>
                    </a:lnTo>
                    <a:lnTo>
                      <a:pt x="258" y="27"/>
                    </a:lnTo>
                    <a:lnTo>
                      <a:pt x="198" y="36"/>
                    </a:lnTo>
                    <a:lnTo>
                      <a:pt x="201" y="69"/>
                    </a:lnTo>
                    <a:lnTo>
                      <a:pt x="210" y="117"/>
                    </a:lnTo>
                    <a:lnTo>
                      <a:pt x="195" y="150"/>
                    </a:lnTo>
                    <a:lnTo>
                      <a:pt x="129" y="144"/>
                    </a:lnTo>
                    <a:lnTo>
                      <a:pt x="141" y="180"/>
                    </a:lnTo>
                    <a:lnTo>
                      <a:pt x="207" y="201"/>
                    </a:lnTo>
                    <a:lnTo>
                      <a:pt x="189" y="249"/>
                    </a:lnTo>
                    <a:lnTo>
                      <a:pt x="189" y="270"/>
                    </a:lnTo>
                    <a:lnTo>
                      <a:pt x="159" y="291"/>
                    </a:lnTo>
                    <a:lnTo>
                      <a:pt x="129" y="291"/>
                    </a:lnTo>
                    <a:lnTo>
                      <a:pt x="126" y="315"/>
                    </a:lnTo>
                    <a:lnTo>
                      <a:pt x="141" y="339"/>
                    </a:lnTo>
                    <a:lnTo>
                      <a:pt x="135" y="366"/>
                    </a:lnTo>
                    <a:lnTo>
                      <a:pt x="102" y="384"/>
                    </a:lnTo>
                    <a:lnTo>
                      <a:pt x="102" y="417"/>
                    </a:lnTo>
                    <a:lnTo>
                      <a:pt x="72" y="462"/>
                    </a:lnTo>
                    <a:lnTo>
                      <a:pt x="0" y="483"/>
                    </a:lnTo>
                    <a:lnTo>
                      <a:pt x="6" y="516"/>
                    </a:lnTo>
                    <a:lnTo>
                      <a:pt x="60" y="537"/>
                    </a:lnTo>
                    <a:lnTo>
                      <a:pt x="84" y="561"/>
                    </a:lnTo>
                    <a:lnTo>
                      <a:pt x="135" y="573"/>
                    </a:lnTo>
                    <a:lnTo>
                      <a:pt x="171" y="558"/>
                    </a:lnTo>
                    <a:lnTo>
                      <a:pt x="225" y="588"/>
                    </a:lnTo>
                    <a:lnTo>
                      <a:pt x="222" y="621"/>
                    </a:lnTo>
                    <a:lnTo>
                      <a:pt x="192" y="666"/>
                    </a:lnTo>
                    <a:lnTo>
                      <a:pt x="276" y="735"/>
                    </a:lnTo>
                    <a:lnTo>
                      <a:pt x="366" y="744"/>
                    </a:lnTo>
                    <a:lnTo>
                      <a:pt x="366" y="705"/>
                    </a:lnTo>
                    <a:lnTo>
                      <a:pt x="396" y="660"/>
                    </a:lnTo>
                    <a:lnTo>
                      <a:pt x="426" y="636"/>
                    </a:lnTo>
                    <a:lnTo>
                      <a:pt x="435" y="612"/>
                    </a:lnTo>
                    <a:lnTo>
                      <a:pt x="462" y="600"/>
                    </a:lnTo>
                    <a:lnTo>
                      <a:pt x="465" y="531"/>
                    </a:lnTo>
                    <a:lnTo>
                      <a:pt x="441" y="477"/>
                    </a:lnTo>
                    <a:lnTo>
                      <a:pt x="429" y="438"/>
                    </a:lnTo>
                    <a:lnTo>
                      <a:pt x="423" y="378"/>
                    </a:lnTo>
                    <a:lnTo>
                      <a:pt x="423" y="357"/>
                    </a:lnTo>
                    <a:lnTo>
                      <a:pt x="441" y="342"/>
                    </a:lnTo>
                    <a:lnTo>
                      <a:pt x="483" y="357"/>
                    </a:lnTo>
                    <a:lnTo>
                      <a:pt x="498" y="390"/>
                    </a:lnTo>
                    <a:lnTo>
                      <a:pt x="525" y="396"/>
                    </a:lnTo>
                    <a:lnTo>
                      <a:pt x="537" y="37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1" name="Freeform 54"/>
              <p:cNvSpPr>
                <a:spLocks/>
              </p:cNvSpPr>
              <p:nvPr/>
            </p:nvSpPr>
            <p:spPr bwMode="auto">
              <a:xfrm>
                <a:off x="1851" y="3522"/>
                <a:ext cx="413" cy="298"/>
              </a:xfrm>
              <a:custGeom>
                <a:avLst/>
                <a:gdLst>
                  <a:gd name="T0" fmla="*/ 0 w 1035"/>
                  <a:gd name="T1" fmla="*/ 0 h 915"/>
                  <a:gd name="T2" fmla="*/ 0 w 1035"/>
                  <a:gd name="T3" fmla="*/ 0 h 915"/>
                  <a:gd name="T4" fmla="*/ 0 w 1035"/>
                  <a:gd name="T5" fmla="*/ 0 h 915"/>
                  <a:gd name="T6" fmla="*/ 0 w 1035"/>
                  <a:gd name="T7" fmla="*/ 0 h 915"/>
                  <a:gd name="T8" fmla="*/ 0 w 1035"/>
                  <a:gd name="T9" fmla="*/ 0 h 915"/>
                  <a:gd name="T10" fmla="*/ 0 w 1035"/>
                  <a:gd name="T11" fmla="*/ 0 h 915"/>
                  <a:gd name="T12" fmla="*/ 0 w 1035"/>
                  <a:gd name="T13" fmla="*/ 0 h 915"/>
                  <a:gd name="T14" fmla="*/ 0 w 1035"/>
                  <a:gd name="T15" fmla="*/ 0 h 915"/>
                  <a:gd name="T16" fmla="*/ 0 w 1035"/>
                  <a:gd name="T17" fmla="*/ 0 h 915"/>
                  <a:gd name="T18" fmla="*/ 0 w 1035"/>
                  <a:gd name="T19" fmla="*/ 0 h 915"/>
                  <a:gd name="T20" fmla="*/ 0 w 1035"/>
                  <a:gd name="T21" fmla="*/ 0 h 915"/>
                  <a:gd name="T22" fmla="*/ 0 w 1035"/>
                  <a:gd name="T23" fmla="*/ 0 h 915"/>
                  <a:gd name="T24" fmla="*/ 0 w 1035"/>
                  <a:gd name="T25" fmla="*/ 0 h 915"/>
                  <a:gd name="T26" fmla="*/ 0 w 1035"/>
                  <a:gd name="T27" fmla="*/ 0 h 915"/>
                  <a:gd name="T28" fmla="*/ 0 w 1035"/>
                  <a:gd name="T29" fmla="*/ 0 h 915"/>
                  <a:gd name="T30" fmla="*/ 0 w 1035"/>
                  <a:gd name="T31" fmla="*/ 0 h 915"/>
                  <a:gd name="T32" fmla="*/ 0 w 1035"/>
                  <a:gd name="T33" fmla="*/ 0 h 915"/>
                  <a:gd name="T34" fmla="*/ 0 w 1035"/>
                  <a:gd name="T35" fmla="*/ 0 h 915"/>
                  <a:gd name="T36" fmla="*/ 0 w 1035"/>
                  <a:gd name="T37" fmla="*/ 0 h 915"/>
                  <a:gd name="T38" fmla="*/ 0 w 1035"/>
                  <a:gd name="T39" fmla="*/ 0 h 915"/>
                  <a:gd name="T40" fmla="*/ 0 w 1035"/>
                  <a:gd name="T41" fmla="*/ 0 h 915"/>
                  <a:gd name="T42" fmla="*/ 0 w 1035"/>
                  <a:gd name="T43" fmla="*/ 0 h 915"/>
                  <a:gd name="T44" fmla="*/ 0 w 1035"/>
                  <a:gd name="T45" fmla="*/ 0 h 915"/>
                  <a:gd name="T46" fmla="*/ 0 w 1035"/>
                  <a:gd name="T47" fmla="*/ 0 h 915"/>
                  <a:gd name="T48" fmla="*/ 0 w 1035"/>
                  <a:gd name="T49" fmla="*/ 0 h 915"/>
                  <a:gd name="T50" fmla="*/ 0 w 1035"/>
                  <a:gd name="T51" fmla="*/ 0 h 915"/>
                  <a:gd name="T52" fmla="*/ 0 w 1035"/>
                  <a:gd name="T53" fmla="*/ 0 h 915"/>
                  <a:gd name="T54" fmla="*/ 0 w 1035"/>
                  <a:gd name="T55" fmla="*/ 0 h 915"/>
                  <a:gd name="T56" fmla="*/ 0 w 1035"/>
                  <a:gd name="T57" fmla="*/ 0 h 915"/>
                  <a:gd name="T58" fmla="*/ 0 w 1035"/>
                  <a:gd name="T59" fmla="*/ 0 h 915"/>
                  <a:gd name="T60" fmla="*/ 0 w 1035"/>
                  <a:gd name="T61" fmla="*/ 0 h 915"/>
                  <a:gd name="T62" fmla="*/ 0 w 1035"/>
                  <a:gd name="T63" fmla="*/ 0 h 915"/>
                  <a:gd name="T64" fmla="*/ 0 w 1035"/>
                  <a:gd name="T65" fmla="*/ 0 h 915"/>
                  <a:gd name="T66" fmla="*/ 0 w 1035"/>
                  <a:gd name="T67" fmla="*/ 0 h 915"/>
                  <a:gd name="T68" fmla="*/ 0 w 1035"/>
                  <a:gd name="T69" fmla="*/ 0 h 915"/>
                  <a:gd name="T70" fmla="*/ 0 w 1035"/>
                  <a:gd name="T71" fmla="*/ 0 h 915"/>
                  <a:gd name="T72" fmla="*/ 0 w 1035"/>
                  <a:gd name="T73" fmla="*/ 0 h 915"/>
                  <a:gd name="T74" fmla="*/ 0 w 1035"/>
                  <a:gd name="T75" fmla="*/ 0 h 9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35"/>
                  <a:gd name="T115" fmla="*/ 0 h 915"/>
                  <a:gd name="T116" fmla="*/ 1035 w 1035"/>
                  <a:gd name="T117" fmla="*/ 915 h 9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35" h="915">
                    <a:moveTo>
                      <a:pt x="534" y="897"/>
                    </a:moveTo>
                    <a:lnTo>
                      <a:pt x="561" y="861"/>
                    </a:lnTo>
                    <a:lnTo>
                      <a:pt x="603" y="783"/>
                    </a:lnTo>
                    <a:lnTo>
                      <a:pt x="579" y="762"/>
                    </a:lnTo>
                    <a:lnTo>
                      <a:pt x="612" y="675"/>
                    </a:lnTo>
                    <a:lnTo>
                      <a:pt x="645" y="624"/>
                    </a:lnTo>
                    <a:lnTo>
                      <a:pt x="663" y="624"/>
                    </a:lnTo>
                    <a:lnTo>
                      <a:pt x="696" y="585"/>
                    </a:lnTo>
                    <a:lnTo>
                      <a:pt x="723" y="588"/>
                    </a:lnTo>
                    <a:lnTo>
                      <a:pt x="735" y="564"/>
                    </a:lnTo>
                    <a:lnTo>
                      <a:pt x="786" y="591"/>
                    </a:lnTo>
                    <a:lnTo>
                      <a:pt x="825" y="558"/>
                    </a:lnTo>
                    <a:lnTo>
                      <a:pt x="852" y="585"/>
                    </a:lnTo>
                    <a:lnTo>
                      <a:pt x="873" y="549"/>
                    </a:lnTo>
                    <a:lnTo>
                      <a:pt x="924" y="579"/>
                    </a:lnTo>
                    <a:lnTo>
                      <a:pt x="927" y="516"/>
                    </a:lnTo>
                    <a:lnTo>
                      <a:pt x="948" y="510"/>
                    </a:lnTo>
                    <a:lnTo>
                      <a:pt x="978" y="525"/>
                    </a:lnTo>
                    <a:lnTo>
                      <a:pt x="981" y="456"/>
                    </a:lnTo>
                    <a:lnTo>
                      <a:pt x="1011" y="438"/>
                    </a:lnTo>
                    <a:lnTo>
                      <a:pt x="1035" y="390"/>
                    </a:lnTo>
                    <a:lnTo>
                      <a:pt x="1035" y="360"/>
                    </a:lnTo>
                    <a:lnTo>
                      <a:pt x="978" y="333"/>
                    </a:lnTo>
                    <a:lnTo>
                      <a:pt x="945" y="348"/>
                    </a:lnTo>
                    <a:lnTo>
                      <a:pt x="888" y="330"/>
                    </a:lnTo>
                    <a:lnTo>
                      <a:pt x="873" y="306"/>
                    </a:lnTo>
                    <a:lnTo>
                      <a:pt x="816" y="297"/>
                    </a:lnTo>
                    <a:lnTo>
                      <a:pt x="813" y="258"/>
                    </a:lnTo>
                    <a:lnTo>
                      <a:pt x="885" y="234"/>
                    </a:lnTo>
                    <a:lnTo>
                      <a:pt x="915" y="189"/>
                    </a:lnTo>
                    <a:lnTo>
                      <a:pt x="912" y="156"/>
                    </a:lnTo>
                    <a:lnTo>
                      <a:pt x="951" y="138"/>
                    </a:lnTo>
                    <a:lnTo>
                      <a:pt x="954" y="102"/>
                    </a:lnTo>
                    <a:lnTo>
                      <a:pt x="939" y="84"/>
                    </a:lnTo>
                    <a:lnTo>
                      <a:pt x="942" y="48"/>
                    </a:lnTo>
                    <a:lnTo>
                      <a:pt x="894" y="0"/>
                    </a:lnTo>
                    <a:lnTo>
                      <a:pt x="831" y="75"/>
                    </a:lnTo>
                    <a:lnTo>
                      <a:pt x="711" y="87"/>
                    </a:lnTo>
                    <a:lnTo>
                      <a:pt x="693" y="114"/>
                    </a:lnTo>
                    <a:lnTo>
                      <a:pt x="621" y="84"/>
                    </a:lnTo>
                    <a:lnTo>
                      <a:pt x="612" y="39"/>
                    </a:lnTo>
                    <a:lnTo>
                      <a:pt x="567" y="63"/>
                    </a:lnTo>
                    <a:lnTo>
                      <a:pt x="501" y="75"/>
                    </a:lnTo>
                    <a:lnTo>
                      <a:pt x="444" y="102"/>
                    </a:lnTo>
                    <a:lnTo>
                      <a:pt x="450" y="165"/>
                    </a:lnTo>
                    <a:lnTo>
                      <a:pt x="411" y="165"/>
                    </a:lnTo>
                    <a:lnTo>
                      <a:pt x="396" y="192"/>
                    </a:lnTo>
                    <a:lnTo>
                      <a:pt x="324" y="168"/>
                    </a:lnTo>
                    <a:lnTo>
                      <a:pt x="297" y="180"/>
                    </a:lnTo>
                    <a:lnTo>
                      <a:pt x="300" y="225"/>
                    </a:lnTo>
                    <a:lnTo>
                      <a:pt x="246" y="219"/>
                    </a:lnTo>
                    <a:lnTo>
                      <a:pt x="189" y="264"/>
                    </a:lnTo>
                    <a:lnTo>
                      <a:pt x="174" y="336"/>
                    </a:lnTo>
                    <a:lnTo>
                      <a:pt x="198" y="357"/>
                    </a:lnTo>
                    <a:lnTo>
                      <a:pt x="201" y="393"/>
                    </a:lnTo>
                    <a:lnTo>
                      <a:pt x="243" y="396"/>
                    </a:lnTo>
                    <a:lnTo>
                      <a:pt x="216" y="474"/>
                    </a:lnTo>
                    <a:lnTo>
                      <a:pt x="117" y="564"/>
                    </a:lnTo>
                    <a:lnTo>
                      <a:pt x="138" y="624"/>
                    </a:lnTo>
                    <a:lnTo>
                      <a:pt x="165" y="669"/>
                    </a:lnTo>
                    <a:lnTo>
                      <a:pt x="162" y="711"/>
                    </a:lnTo>
                    <a:lnTo>
                      <a:pt x="84" y="714"/>
                    </a:lnTo>
                    <a:lnTo>
                      <a:pt x="6" y="807"/>
                    </a:lnTo>
                    <a:lnTo>
                      <a:pt x="0" y="852"/>
                    </a:lnTo>
                    <a:lnTo>
                      <a:pt x="45" y="846"/>
                    </a:lnTo>
                    <a:lnTo>
                      <a:pt x="84" y="810"/>
                    </a:lnTo>
                    <a:lnTo>
                      <a:pt x="219" y="858"/>
                    </a:lnTo>
                    <a:lnTo>
                      <a:pt x="231" y="882"/>
                    </a:lnTo>
                    <a:lnTo>
                      <a:pt x="282" y="858"/>
                    </a:lnTo>
                    <a:lnTo>
                      <a:pt x="285" y="828"/>
                    </a:lnTo>
                    <a:lnTo>
                      <a:pt x="255" y="798"/>
                    </a:lnTo>
                    <a:lnTo>
                      <a:pt x="264" y="777"/>
                    </a:lnTo>
                    <a:lnTo>
                      <a:pt x="300" y="777"/>
                    </a:lnTo>
                    <a:lnTo>
                      <a:pt x="366" y="825"/>
                    </a:lnTo>
                    <a:lnTo>
                      <a:pt x="426" y="876"/>
                    </a:lnTo>
                    <a:lnTo>
                      <a:pt x="465" y="915"/>
                    </a:lnTo>
                    <a:lnTo>
                      <a:pt x="534" y="89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2" name="Freeform 55"/>
              <p:cNvSpPr>
                <a:spLocks/>
              </p:cNvSpPr>
              <p:nvPr/>
            </p:nvSpPr>
            <p:spPr bwMode="auto">
              <a:xfrm>
                <a:off x="2066" y="3644"/>
                <a:ext cx="296" cy="282"/>
              </a:xfrm>
              <a:custGeom>
                <a:avLst/>
                <a:gdLst>
                  <a:gd name="T0" fmla="*/ 0 w 741"/>
                  <a:gd name="T1" fmla="*/ 0 h 864"/>
                  <a:gd name="T2" fmla="*/ 0 w 741"/>
                  <a:gd name="T3" fmla="*/ 0 h 864"/>
                  <a:gd name="T4" fmla="*/ 0 w 741"/>
                  <a:gd name="T5" fmla="*/ 0 h 864"/>
                  <a:gd name="T6" fmla="*/ 0 w 741"/>
                  <a:gd name="T7" fmla="*/ 0 h 864"/>
                  <a:gd name="T8" fmla="*/ 0 w 741"/>
                  <a:gd name="T9" fmla="*/ 0 h 864"/>
                  <a:gd name="T10" fmla="*/ 0 w 741"/>
                  <a:gd name="T11" fmla="*/ 0 h 864"/>
                  <a:gd name="T12" fmla="*/ 0 w 741"/>
                  <a:gd name="T13" fmla="*/ 0 h 864"/>
                  <a:gd name="T14" fmla="*/ 0 w 741"/>
                  <a:gd name="T15" fmla="*/ 0 h 864"/>
                  <a:gd name="T16" fmla="*/ 0 w 741"/>
                  <a:gd name="T17" fmla="*/ 0 h 864"/>
                  <a:gd name="T18" fmla="*/ 0 w 741"/>
                  <a:gd name="T19" fmla="*/ 0 h 864"/>
                  <a:gd name="T20" fmla="*/ 0 w 741"/>
                  <a:gd name="T21" fmla="*/ 0 h 864"/>
                  <a:gd name="T22" fmla="*/ 0 w 741"/>
                  <a:gd name="T23" fmla="*/ 0 h 864"/>
                  <a:gd name="T24" fmla="*/ 0 w 741"/>
                  <a:gd name="T25" fmla="*/ 0 h 864"/>
                  <a:gd name="T26" fmla="*/ 0 w 741"/>
                  <a:gd name="T27" fmla="*/ 0 h 864"/>
                  <a:gd name="T28" fmla="*/ 0 w 741"/>
                  <a:gd name="T29" fmla="*/ 0 h 864"/>
                  <a:gd name="T30" fmla="*/ 0 w 741"/>
                  <a:gd name="T31" fmla="*/ 0 h 864"/>
                  <a:gd name="T32" fmla="*/ 0 w 741"/>
                  <a:gd name="T33" fmla="*/ 0 h 864"/>
                  <a:gd name="T34" fmla="*/ 0 w 741"/>
                  <a:gd name="T35" fmla="*/ 0 h 864"/>
                  <a:gd name="T36" fmla="*/ 0 w 741"/>
                  <a:gd name="T37" fmla="*/ 0 h 864"/>
                  <a:gd name="T38" fmla="*/ 0 w 741"/>
                  <a:gd name="T39" fmla="*/ 0 h 864"/>
                  <a:gd name="T40" fmla="*/ 0 w 741"/>
                  <a:gd name="T41" fmla="*/ 0 h 864"/>
                  <a:gd name="T42" fmla="*/ 0 w 741"/>
                  <a:gd name="T43" fmla="*/ 0 h 864"/>
                  <a:gd name="T44" fmla="*/ 0 w 741"/>
                  <a:gd name="T45" fmla="*/ 0 h 864"/>
                  <a:gd name="T46" fmla="*/ 0 w 741"/>
                  <a:gd name="T47" fmla="*/ 0 h 864"/>
                  <a:gd name="T48" fmla="*/ 0 w 741"/>
                  <a:gd name="T49" fmla="*/ 0 h 864"/>
                  <a:gd name="T50" fmla="*/ 0 w 741"/>
                  <a:gd name="T51" fmla="*/ 0 h 864"/>
                  <a:gd name="T52" fmla="*/ 0 w 741"/>
                  <a:gd name="T53" fmla="*/ 0 h 864"/>
                  <a:gd name="T54" fmla="*/ 0 w 741"/>
                  <a:gd name="T55" fmla="*/ 0 h 864"/>
                  <a:gd name="T56" fmla="*/ 0 w 741"/>
                  <a:gd name="T57" fmla="*/ 0 h 864"/>
                  <a:gd name="T58" fmla="*/ 0 w 741"/>
                  <a:gd name="T59" fmla="*/ 0 h 864"/>
                  <a:gd name="T60" fmla="*/ 0 w 741"/>
                  <a:gd name="T61" fmla="*/ 0 h 864"/>
                  <a:gd name="T62" fmla="*/ 0 w 741"/>
                  <a:gd name="T63" fmla="*/ 0 h 864"/>
                  <a:gd name="T64" fmla="*/ 0 w 741"/>
                  <a:gd name="T65" fmla="*/ 0 h 864"/>
                  <a:gd name="T66" fmla="*/ 0 w 741"/>
                  <a:gd name="T67" fmla="*/ 0 h 8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1"/>
                  <a:gd name="T103" fmla="*/ 0 h 864"/>
                  <a:gd name="T104" fmla="*/ 741 w 741"/>
                  <a:gd name="T105" fmla="*/ 864 h 8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41" h="864">
                    <a:moveTo>
                      <a:pt x="240" y="618"/>
                    </a:moveTo>
                    <a:lnTo>
                      <a:pt x="204" y="612"/>
                    </a:lnTo>
                    <a:lnTo>
                      <a:pt x="192" y="588"/>
                    </a:lnTo>
                    <a:lnTo>
                      <a:pt x="99" y="585"/>
                    </a:lnTo>
                    <a:lnTo>
                      <a:pt x="12" y="567"/>
                    </a:lnTo>
                    <a:lnTo>
                      <a:pt x="0" y="519"/>
                    </a:lnTo>
                    <a:lnTo>
                      <a:pt x="60" y="408"/>
                    </a:lnTo>
                    <a:lnTo>
                      <a:pt x="42" y="390"/>
                    </a:lnTo>
                    <a:lnTo>
                      <a:pt x="72" y="288"/>
                    </a:lnTo>
                    <a:lnTo>
                      <a:pt x="102" y="240"/>
                    </a:lnTo>
                    <a:lnTo>
                      <a:pt x="132" y="249"/>
                    </a:lnTo>
                    <a:lnTo>
                      <a:pt x="156" y="213"/>
                    </a:lnTo>
                    <a:lnTo>
                      <a:pt x="189" y="216"/>
                    </a:lnTo>
                    <a:lnTo>
                      <a:pt x="198" y="198"/>
                    </a:lnTo>
                    <a:lnTo>
                      <a:pt x="246" y="216"/>
                    </a:lnTo>
                    <a:lnTo>
                      <a:pt x="282" y="180"/>
                    </a:lnTo>
                    <a:lnTo>
                      <a:pt x="312" y="210"/>
                    </a:lnTo>
                    <a:lnTo>
                      <a:pt x="333" y="177"/>
                    </a:lnTo>
                    <a:lnTo>
                      <a:pt x="384" y="201"/>
                    </a:lnTo>
                    <a:lnTo>
                      <a:pt x="387" y="141"/>
                    </a:lnTo>
                    <a:lnTo>
                      <a:pt x="402" y="126"/>
                    </a:lnTo>
                    <a:lnTo>
                      <a:pt x="435" y="150"/>
                    </a:lnTo>
                    <a:lnTo>
                      <a:pt x="444" y="78"/>
                    </a:lnTo>
                    <a:lnTo>
                      <a:pt x="471" y="63"/>
                    </a:lnTo>
                    <a:lnTo>
                      <a:pt x="546" y="132"/>
                    </a:lnTo>
                    <a:lnTo>
                      <a:pt x="639" y="144"/>
                    </a:lnTo>
                    <a:lnTo>
                      <a:pt x="642" y="102"/>
                    </a:lnTo>
                    <a:lnTo>
                      <a:pt x="675" y="48"/>
                    </a:lnTo>
                    <a:lnTo>
                      <a:pt x="696" y="42"/>
                    </a:lnTo>
                    <a:lnTo>
                      <a:pt x="702" y="12"/>
                    </a:lnTo>
                    <a:lnTo>
                      <a:pt x="735" y="0"/>
                    </a:lnTo>
                    <a:lnTo>
                      <a:pt x="741" y="72"/>
                    </a:lnTo>
                    <a:lnTo>
                      <a:pt x="726" y="207"/>
                    </a:lnTo>
                    <a:lnTo>
                      <a:pt x="699" y="312"/>
                    </a:lnTo>
                    <a:lnTo>
                      <a:pt x="693" y="372"/>
                    </a:lnTo>
                    <a:lnTo>
                      <a:pt x="651" y="405"/>
                    </a:lnTo>
                    <a:lnTo>
                      <a:pt x="645" y="447"/>
                    </a:lnTo>
                    <a:lnTo>
                      <a:pt x="576" y="501"/>
                    </a:lnTo>
                    <a:lnTo>
                      <a:pt x="507" y="519"/>
                    </a:lnTo>
                    <a:lnTo>
                      <a:pt x="453" y="510"/>
                    </a:lnTo>
                    <a:lnTo>
                      <a:pt x="408" y="534"/>
                    </a:lnTo>
                    <a:lnTo>
                      <a:pt x="417" y="552"/>
                    </a:lnTo>
                    <a:lnTo>
                      <a:pt x="435" y="549"/>
                    </a:lnTo>
                    <a:lnTo>
                      <a:pt x="450" y="585"/>
                    </a:lnTo>
                    <a:lnTo>
                      <a:pt x="495" y="609"/>
                    </a:lnTo>
                    <a:lnTo>
                      <a:pt x="459" y="660"/>
                    </a:lnTo>
                    <a:lnTo>
                      <a:pt x="453" y="723"/>
                    </a:lnTo>
                    <a:lnTo>
                      <a:pt x="492" y="750"/>
                    </a:lnTo>
                    <a:lnTo>
                      <a:pt x="513" y="705"/>
                    </a:lnTo>
                    <a:lnTo>
                      <a:pt x="555" y="681"/>
                    </a:lnTo>
                    <a:lnTo>
                      <a:pt x="558" y="720"/>
                    </a:lnTo>
                    <a:lnTo>
                      <a:pt x="540" y="762"/>
                    </a:lnTo>
                    <a:lnTo>
                      <a:pt x="480" y="780"/>
                    </a:lnTo>
                    <a:lnTo>
                      <a:pt x="459" y="822"/>
                    </a:lnTo>
                    <a:lnTo>
                      <a:pt x="414" y="861"/>
                    </a:lnTo>
                    <a:lnTo>
                      <a:pt x="393" y="825"/>
                    </a:lnTo>
                    <a:lnTo>
                      <a:pt x="324" y="864"/>
                    </a:lnTo>
                    <a:lnTo>
                      <a:pt x="300" y="807"/>
                    </a:lnTo>
                    <a:lnTo>
                      <a:pt x="264" y="777"/>
                    </a:lnTo>
                    <a:lnTo>
                      <a:pt x="249" y="711"/>
                    </a:lnTo>
                    <a:lnTo>
                      <a:pt x="249" y="660"/>
                    </a:lnTo>
                    <a:lnTo>
                      <a:pt x="330" y="618"/>
                    </a:lnTo>
                    <a:lnTo>
                      <a:pt x="369" y="579"/>
                    </a:lnTo>
                    <a:lnTo>
                      <a:pt x="399" y="564"/>
                    </a:lnTo>
                    <a:lnTo>
                      <a:pt x="390" y="546"/>
                    </a:lnTo>
                    <a:lnTo>
                      <a:pt x="345" y="561"/>
                    </a:lnTo>
                    <a:lnTo>
                      <a:pt x="315" y="594"/>
                    </a:lnTo>
                    <a:lnTo>
                      <a:pt x="267" y="618"/>
                    </a:lnTo>
                    <a:lnTo>
                      <a:pt x="240" y="61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3" name="Freeform 56"/>
              <p:cNvSpPr>
                <a:spLocks/>
              </p:cNvSpPr>
              <p:nvPr/>
            </p:nvSpPr>
            <p:spPr bwMode="auto">
              <a:xfrm>
                <a:off x="1948" y="3904"/>
                <a:ext cx="233" cy="157"/>
              </a:xfrm>
              <a:custGeom>
                <a:avLst/>
                <a:gdLst>
                  <a:gd name="T0" fmla="*/ 0 w 585"/>
                  <a:gd name="T1" fmla="*/ 0 h 483"/>
                  <a:gd name="T2" fmla="*/ 0 w 585"/>
                  <a:gd name="T3" fmla="*/ 0 h 483"/>
                  <a:gd name="T4" fmla="*/ 0 w 585"/>
                  <a:gd name="T5" fmla="*/ 0 h 483"/>
                  <a:gd name="T6" fmla="*/ 0 w 585"/>
                  <a:gd name="T7" fmla="*/ 0 h 483"/>
                  <a:gd name="T8" fmla="*/ 0 w 585"/>
                  <a:gd name="T9" fmla="*/ 0 h 483"/>
                  <a:gd name="T10" fmla="*/ 0 w 585"/>
                  <a:gd name="T11" fmla="*/ 0 h 483"/>
                  <a:gd name="T12" fmla="*/ 0 w 585"/>
                  <a:gd name="T13" fmla="*/ 0 h 483"/>
                  <a:gd name="T14" fmla="*/ 0 w 585"/>
                  <a:gd name="T15" fmla="*/ 0 h 483"/>
                  <a:gd name="T16" fmla="*/ 0 w 585"/>
                  <a:gd name="T17" fmla="*/ 0 h 483"/>
                  <a:gd name="T18" fmla="*/ 0 w 585"/>
                  <a:gd name="T19" fmla="*/ 0 h 483"/>
                  <a:gd name="T20" fmla="*/ 0 w 585"/>
                  <a:gd name="T21" fmla="*/ 0 h 483"/>
                  <a:gd name="T22" fmla="*/ 0 w 585"/>
                  <a:gd name="T23" fmla="*/ 0 h 483"/>
                  <a:gd name="T24" fmla="*/ 0 w 585"/>
                  <a:gd name="T25" fmla="*/ 0 h 483"/>
                  <a:gd name="T26" fmla="*/ 0 w 585"/>
                  <a:gd name="T27" fmla="*/ 0 h 483"/>
                  <a:gd name="T28" fmla="*/ 0 w 585"/>
                  <a:gd name="T29" fmla="*/ 0 h 483"/>
                  <a:gd name="T30" fmla="*/ 0 w 585"/>
                  <a:gd name="T31" fmla="*/ 0 h 483"/>
                  <a:gd name="T32" fmla="*/ 0 w 585"/>
                  <a:gd name="T33" fmla="*/ 0 h 483"/>
                  <a:gd name="T34" fmla="*/ 0 w 585"/>
                  <a:gd name="T35" fmla="*/ 0 h 483"/>
                  <a:gd name="T36" fmla="*/ 0 w 585"/>
                  <a:gd name="T37" fmla="*/ 0 h 483"/>
                  <a:gd name="T38" fmla="*/ 0 w 585"/>
                  <a:gd name="T39" fmla="*/ 0 h 483"/>
                  <a:gd name="T40" fmla="*/ 0 w 585"/>
                  <a:gd name="T41" fmla="*/ 0 h 483"/>
                  <a:gd name="T42" fmla="*/ 0 w 585"/>
                  <a:gd name="T43" fmla="*/ 0 h 483"/>
                  <a:gd name="T44" fmla="*/ 0 w 585"/>
                  <a:gd name="T45" fmla="*/ 0 h 483"/>
                  <a:gd name="T46" fmla="*/ 0 w 585"/>
                  <a:gd name="T47" fmla="*/ 0 h 483"/>
                  <a:gd name="T48" fmla="*/ 0 w 585"/>
                  <a:gd name="T49" fmla="*/ 0 h 483"/>
                  <a:gd name="T50" fmla="*/ 0 w 585"/>
                  <a:gd name="T51" fmla="*/ 0 h 483"/>
                  <a:gd name="T52" fmla="*/ 0 w 585"/>
                  <a:gd name="T53" fmla="*/ 0 h 483"/>
                  <a:gd name="T54" fmla="*/ 0 w 585"/>
                  <a:gd name="T55" fmla="*/ 0 h 483"/>
                  <a:gd name="T56" fmla="*/ 0 w 585"/>
                  <a:gd name="T57" fmla="*/ 0 h 483"/>
                  <a:gd name="T58" fmla="*/ 0 w 585"/>
                  <a:gd name="T59" fmla="*/ 0 h 483"/>
                  <a:gd name="T60" fmla="*/ 0 w 585"/>
                  <a:gd name="T61" fmla="*/ 0 h 483"/>
                  <a:gd name="T62" fmla="*/ 0 w 585"/>
                  <a:gd name="T63" fmla="*/ 0 h 483"/>
                  <a:gd name="T64" fmla="*/ 0 w 585"/>
                  <a:gd name="T65" fmla="*/ 0 h 483"/>
                  <a:gd name="T66" fmla="*/ 0 w 585"/>
                  <a:gd name="T67" fmla="*/ 0 h 483"/>
                  <a:gd name="T68" fmla="*/ 0 w 585"/>
                  <a:gd name="T69" fmla="*/ 0 h 483"/>
                  <a:gd name="T70" fmla="*/ 0 w 585"/>
                  <a:gd name="T71" fmla="*/ 0 h 483"/>
                  <a:gd name="T72" fmla="*/ 0 w 585"/>
                  <a:gd name="T73" fmla="*/ 0 h 4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5"/>
                  <a:gd name="T112" fmla="*/ 0 h 483"/>
                  <a:gd name="T113" fmla="*/ 585 w 585"/>
                  <a:gd name="T114" fmla="*/ 483 h 4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5" h="483">
                    <a:moveTo>
                      <a:pt x="585" y="375"/>
                    </a:moveTo>
                    <a:lnTo>
                      <a:pt x="576" y="333"/>
                    </a:lnTo>
                    <a:lnTo>
                      <a:pt x="525" y="294"/>
                    </a:lnTo>
                    <a:lnTo>
                      <a:pt x="465" y="225"/>
                    </a:lnTo>
                    <a:lnTo>
                      <a:pt x="444" y="216"/>
                    </a:lnTo>
                    <a:lnTo>
                      <a:pt x="432" y="240"/>
                    </a:lnTo>
                    <a:lnTo>
                      <a:pt x="486" y="303"/>
                    </a:lnTo>
                    <a:lnTo>
                      <a:pt x="429" y="312"/>
                    </a:lnTo>
                    <a:lnTo>
                      <a:pt x="372" y="264"/>
                    </a:lnTo>
                    <a:lnTo>
                      <a:pt x="366" y="237"/>
                    </a:lnTo>
                    <a:lnTo>
                      <a:pt x="375" y="198"/>
                    </a:lnTo>
                    <a:lnTo>
                      <a:pt x="348" y="168"/>
                    </a:lnTo>
                    <a:lnTo>
                      <a:pt x="342" y="201"/>
                    </a:lnTo>
                    <a:lnTo>
                      <a:pt x="303" y="258"/>
                    </a:lnTo>
                    <a:lnTo>
                      <a:pt x="219" y="186"/>
                    </a:lnTo>
                    <a:lnTo>
                      <a:pt x="159" y="117"/>
                    </a:lnTo>
                    <a:lnTo>
                      <a:pt x="117" y="81"/>
                    </a:lnTo>
                    <a:lnTo>
                      <a:pt x="66" y="51"/>
                    </a:lnTo>
                    <a:lnTo>
                      <a:pt x="39" y="18"/>
                    </a:lnTo>
                    <a:lnTo>
                      <a:pt x="15" y="0"/>
                    </a:lnTo>
                    <a:lnTo>
                      <a:pt x="0" y="15"/>
                    </a:lnTo>
                    <a:lnTo>
                      <a:pt x="27" y="75"/>
                    </a:lnTo>
                    <a:lnTo>
                      <a:pt x="60" y="96"/>
                    </a:lnTo>
                    <a:lnTo>
                      <a:pt x="78" y="141"/>
                    </a:lnTo>
                    <a:lnTo>
                      <a:pt x="72" y="186"/>
                    </a:lnTo>
                    <a:lnTo>
                      <a:pt x="144" y="264"/>
                    </a:lnTo>
                    <a:lnTo>
                      <a:pt x="189" y="279"/>
                    </a:lnTo>
                    <a:lnTo>
                      <a:pt x="270" y="366"/>
                    </a:lnTo>
                    <a:lnTo>
                      <a:pt x="315" y="414"/>
                    </a:lnTo>
                    <a:lnTo>
                      <a:pt x="354" y="468"/>
                    </a:lnTo>
                    <a:lnTo>
                      <a:pt x="393" y="483"/>
                    </a:lnTo>
                    <a:lnTo>
                      <a:pt x="423" y="456"/>
                    </a:lnTo>
                    <a:lnTo>
                      <a:pt x="453" y="423"/>
                    </a:lnTo>
                    <a:lnTo>
                      <a:pt x="486" y="396"/>
                    </a:lnTo>
                    <a:lnTo>
                      <a:pt x="525" y="384"/>
                    </a:lnTo>
                    <a:lnTo>
                      <a:pt x="549" y="387"/>
                    </a:lnTo>
                    <a:lnTo>
                      <a:pt x="585" y="37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54" name="Freeform 57"/>
              <p:cNvSpPr>
                <a:spLocks/>
              </p:cNvSpPr>
              <p:nvPr/>
            </p:nvSpPr>
            <p:spPr bwMode="auto">
              <a:xfrm>
                <a:off x="2226" y="3695"/>
                <a:ext cx="229" cy="455"/>
              </a:xfrm>
              <a:custGeom>
                <a:avLst/>
                <a:gdLst>
                  <a:gd name="T0" fmla="*/ 0 w 573"/>
                  <a:gd name="T1" fmla="*/ 0 h 1395"/>
                  <a:gd name="T2" fmla="*/ 0 w 573"/>
                  <a:gd name="T3" fmla="*/ 0 h 1395"/>
                  <a:gd name="T4" fmla="*/ 0 w 573"/>
                  <a:gd name="T5" fmla="*/ 0 h 1395"/>
                  <a:gd name="T6" fmla="*/ 0 w 573"/>
                  <a:gd name="T7" fmla="*/ 0 h 1395"/>
                  <a:gd name="T8" fmla="*/ 0 w 573"/>
                  <a:gd name="T9" fmla="*/ 0 h 1395"/>
                  <a:gd name="T10" fmla="*/ 0 w 573"/>
                  <a:gd name="T11" fmla="*/ 0 h 1395"/>
                  <a:gd name="T12" fmla="*/ 0 w 573"/>
                  <a:gd name="T13" fmla="*/ 0 h 1395"/>
                  <a:gd name="T14" fmla="*/ 0 w 573"/>
                  <a:gd name="T15" fmla="*/ 0 h 1395"/>
                  <a:gd name="T16" fmla="*/ 0 w 573"/>
                  <a:gd name="T17" fmla="*/ 0 h 1395"/>
                  <a:gd name="T18" fmla="*/ 0 w 573"/>
                  <a:gd name="T19" fmla="*/ 0 h 1395"/>
                  <a:gd name="T20" fmla="*/ 0 w 573"/>
                  <a:gd name="T21" fmla="*/ 0 h 1395"/>
                  <a:gd name="T22" fmla="*/ 0 w 573"/>
                  <a:gd name="T23" fmla="*/ 0 h 1395"/>
                  <a:gd name="T24" fmla="*/ 0 w 573"/>
                  <a:gd name="T25" fmla="*/ 0 h 1395"/>
                  <a:gd name="T26" fmla="*/ 0 w 573"/>
                  <a:gd name="T27" fmla="*/ 0 h 1395"/>
                  <a:gd name="T28" fmla="*/ 0 w 573"/>
                  <a:gd name="T29" fmla="*/ 0 h 1395"/>
                  <a:gd name="T30" fmla="*/ 0 w 573"/>
                  <a:gd name="T31" fmla="*/ 0 h 1395"/>
                  <a:gd name="T32" fmla="*/ 0 w 573"/>
                  <a:gd name="T33" fmla="*/ 0 h 1395"/>
                  <a:gd name="T34" fmla="*/ 0 w 573"/>
                  <a:gd name="T35" fmla="*/ 0 h 1395"/>
                  <a:gd name="T36" fmla="*/ 0 w 573"/>
                  <a:gd name="T37" fmla="*/ 0 h 1395"/>
                  <a:gd name="T38" fmla="*/ 0 w 573"/>
                  <a:gd name="T39" fmla="*/ 0 h 1395"/>
                  <a:gd name="T40" fmla="*/ 0 w 573"/>
                  <a:gd name="T41" fmla="*/ 0 h 1395"/>
                  <a:gd name="T42" fmla="*/ 0 w 573"/>
                  <a:gd name="T43" fmla="*/ 0 h 1395"/>
                  <a:gd name="T44" fmla="*/ 0 w 573"/>
                  <a:gd name="T45" fmla="*/ 0 h 1395"/>
                  <a:gd name="T46" fmla="*/ 0 w 573"/>
                  <a:gd name="T47" fmla="*/ 0 h 1395"/>
                  <a:gd name="T48" fmla="*/ 0 w 573"/>
                  <a:gd name="T49" fmla="*/ 0 h 1395"/>
                  <a:gd name="T50" fmla="*/ 0 w 573"/>
                  <a:gd name="T51" fmla="*/ 0 h 1395"/>
                  <a:gd name="T52" fmla="*/ 0 w 573"/>
                  <a:gd name="T53" fmla="*/ 0 h 1395"/>
                  <a:gd name="T54" fmla="*/ 0 w 573"/>
                  <a:gd name="T55" fmla="*/ 0 h 1395"/>
                  <a:gd name="T56" fmla="*/ 0 w 573"/>
                  <a:gd name="T57" fmla="*/ 0 h 1395"/>
                  <a:gd name="T58" fmla="*/ 0 w 573"/>
                  <a:gd name="T59" fmla="*/ 0 h 1395"/>
                  <a:gd name="T60" fmla="*/ 0 w 573"/>
                  <a:gd name="T61" fmla="*/ 0 h 1395"/>
                  <a:gd name="T62" fmla="*/ 0 w 573"/>
                  <a:gd name="T63" fmla="*/ 0 h 1395"/>
                  <a:gd name="T64" fmla="*/ 0 w 573"/>
                  <a:gd name="T65" fmla="*/ 0 h 1395"/>
                  <a:gd name="T66" fmla="*/ 0 w 573"/>
                  <a:gd name="T67" fmla="*/ 0 h 1395"/>
                  <a:gd name="T68" fmla="*/ 0 w 573"/>
                  <a:gd name="T69" fmla="*/ 0 h 1395"/>
                  <a:gd name="T70" fmla="*/ 0 w 573"/>
                  <a:gd name="T71" fmla="*/ 0 h 1395"/>
                  <a:gd name="T72" fmla="*/ 0 w 573"/>
                  <a:gd name="T73" fmla="*/ 0 h 1395"/>
                  <a:gd name="T74" fmla="*/ 0 w 573"/>
                  <a:gd name="T75" fmla="*/ 0 h 1395"/>
                  <a:gd name="T76" fmla="*/ 0 w 573"/>
                  <a:gd name="T77" fmla="*/ 0 h 1395"/>
                  <a:gd name="T78" fmla="*/ 0 w 573"/>
                  <a:gd name="T79" fmla="*/ 0 h 1395"/>
                  <a:gd name="T80" fmla="*/ 0 w 573"/>
                  <a:gd name="T81" fmla="*/ 0 h 1395"/>
                  <a:gd name="T82" fmla="*/ 0 w 573"/>
                  <a:gd name="T83" fmla="*/ 0 h 1395"/>
                  <a:gd name="T84" fmla="*/ 0 w 573"/>
                  <a:gd name="T85" fmla="*/ 0 h 13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1395"/>
                  <a:gd name="T131" fmla="*/ 573 w 573"/>
                  <a:gd name="T132" fmla="*/ 1395 h 139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1395">
                    <a:moveTo>
                      <a:pt x="168" y="1395"/>
                    </a:moveTo>
                    <a:lnTo>
                      <a:pt x="219" y="1371"/>
                    </a:lnTo>
                    <a:lnTo>
                      <a:pt x="285" y="1203"/>
                    </a:lnTo>
                    <a:lnTo>
                      <a:pt x="291" y="1089"/>
                    </a:lnTo>
                    <a:lnTo>
                      <a:pt x="366" y="897"/>
                    </a:lnTo>
                    <a:lnTo>
                      <a:pt x="378" y="795"/>
                    </a:lnTo>
                    <a:lnTo>
                      <a:pt x="435" y="621"/>
                    </a:lnTo>
                    <a:lnTo>
                      <a:pt x="501" y="552"/>
                    </a:lnTo>
                    <a:lnTo>
                      <a:pt x="525" y="483"/>
                    </a:lnTo>
                    <a:lnTo>
                      <a:pt x="510" y="468"/>
                    </a:lnTo>
                    <a:lnTo>
                      <a:pt x="525" y="384"/>
                    </a:lnTo>
                    <a:lnTo>
                      <a:pt x="564" y="258"/>
                    </a:lnTo>
                    <a:lnTo>
                      <a:pt x="573" y="117"/>
                    </a:lnTo>
                    <a:lnTo>
                      <a:pt x="573" y="15"/>
                    </a:lnTo>
                    <a:lnTo>
                      <a:pt x="549" y="0"/>
                    </a:lnTo>
                    <a:lnTo>
                      <a:pt x="498" y="90"/>
                    </a:lnTo>
                    <a:lnTo>
                      <a:pt x="444" y="240"/>
                    </a:lnTo>
                    <a:lnTo>
                      <a:pt x="432" y="324"/>
                    </a:lnTo>
                    <a:lnTo>
                      <a:pt x="348" y="525"/>
                    </a:lnTo>
                    <a:lnTo>
                      <a:pt x="303" y="579"/>
                    </a:lnTo>
                    <a:lnTo>
                      <a:pt x="282" y="591"/>
                    </a:lnTo>
                    <a:lnTo>
                      <a:pt x="270" y="624"/>
                    </a:lnTo>
                    <a:lnTo>
                      <a:pt x="240" y="624"/>
                    </a:lnTo>
                    <a:lnTo>
                      <a:pt x="183" y="702"/>
                    </a:lnTo>
                    <a:lnTo>
                      <a:pt x="126" y="786"/>
                    </a:lnTo>
                    <a:lnTo>
                      <a:pt x="129" y="813"/>
                    </a:lnTo>
                    <a:lnTo>
                      <a:pt x="129" y="834"/>
                    </a:lnTo>
                    <a:lnTo>
                      <a:pt x="156" y="846"/>
                    </a:lnTo>
                    <a:lnTo>
                      <a:pt x="216" y="900"/>
                    </a:lnTo>
                    <a:lnTo>
                      <a:pt x="141" y="912"/>
                    </a:lnTo>
                    <a:lnTo>
                      <a:pt x="141" y="891"/>
                    </a:lnTo>
                    <a:lnTo>
                      <a:pt x="111" y="906"/>
                    </a:lnTo>
                    <a:lnTo>
                      <a:pt x="117" y="981"/>
                    </a:lnTo>
                    <a:lnTo>
                      <a:pt x="87" y="1050"/>
                    </a:lnTo>
                    <a:lnTo>
                      <a:pt x="12" y="1035"/>
                    </a:lnTo>
                    <a:lnTo>
                      <a:pt x="0" y="1053"/>
                    </a:lnTo>
                    <a:lnTo>
                      <a:pt x="30" y="1101"/>
                    </a:lnTo>
                    <a:lnTo>
                      <a:pt x="75" y="1119"/>
                    </a:lnTo>
                    <a:lnTo>
                      <a:pt x="108" y="1167"/>
                    </a:lnTo>
                    <a:lnTo>
                      <a:pt x="129" y="1275"/>
                    </a:lnTo>
                    <a:cubicBezTo>
                      <a:pt x="124" y="1292"/>
                      <a:pt x="126" y="1324"/>
                      <a:pt x="123" y="1341"/>
                    </a:cubicBezTo>
                    <a:cubicBezTo>
                      <a:pt x="121" y="1349"/>
                      <a:pt x="131" y="1368"/>
                      <a:pt x="138" y="1377"/>
                    </a:cubicBezTo>
                    <a:lnTo>
                      <a:pt x="168" y="139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79" name="Group 58"/>
            <p:cNvGrpSpPr>
              <a:grpSpLocks/>
            </p:cNvGrpSpPr>
            <p:nvPr/>
          </p:nvGrpSpPr>
          <p:grpSpPr bwMode="auto">
            <a:xfrm>
              <a:off x="2615" y="2536"/>
              <a:ext cx="1049" cy="851"/>
              <a:chOff x="2426" y="2858"/>
              <a:chExt cx="1049" cy="851"/>
            </a:xfrm>
          </p:grpSpPr>
          <p:sp>
            <p:nvSpPr>
              <p:cNvPr id="29823" name="Freeform 59"/>
              <p:cNvSpPr>
                <a:spLocks/>
              </p:cNvSpPr>
              <p:nvPr/>
            </p:nvSpPr>
            <p:spPr bwMode="auto">
              <a:xfrm>
                <a:off x="3011" y="3117"/>
                <a:ext cx="206" cy="205"/>
              </a:xfrm>
              <a:custGeom>
                <a:avLst/>
                <a:gdLst>
                  <a:gd name="T0" fmla="*/ 0 w 494"/>
                  <a:gd name="T1" fmla="*/ 0 h 592"/>
                  <a:gd name="T2" fmla="*/ 0 w 494"/>
                  <a:gd name="T3" fmla="*/ 0 h 592"/>
                  <a:gd name="T4" fmla="*/ 0 w 494"/>
                  <a:gd name="T5" fmla="*/ 0 h 592"/>
                  <a:gd name="T6" fmla="*/ 0 w 494"/>
                  <a:gd name="T7" fmla="*/ 0 h 592"/>
                  <a:gd name="T8" fmla="*/ 0 w 494"/>
                  <a:gd name="T9" fmla="*/ 0 h 592"/>
                  <a:gd name="T10" fmla="*/ 0 w 494"/>
                  <a:gd name="T11" fmla="*/ 0 h 592"/>
                  <a:gd name="T12" fmla="*/ 0 w 494"/>
                  <a:gd name="T13" fmla="*/ 0 h 592"/>
                  <a:gd name="T14" fmla="*/ 0 w 494"/>
                  <a:gd name="T15" fmla="*/ 0 h 592"/>
                  <a:gd name="T16" fmla="*/ 0 w 494"/>
                  <a:gd name="T17" fmla="*/ 0 h 592"/>
                  <a:gd name="T18" fmla="*/ 0 w 494"/>
                  <a:gd name="T19" fmla="*/ 0 h 592"/>
                  <a:gd name="T20" fmla="*/ 0 w 494"/>
                  <a:gd name="T21" fmla="*/ 0 h 592"/>
                  <a:gd name="T22" fmla="*/ 0 w 494"/>
                  <a:gd name="T23" fmla="*/ 0 h 592"/>
                  <a:gd name="T24" fmla="*/ 0 w 494"/>
                  <a:gd name="T25" fmla="*/ 0 h 592"/>
                  <a:gd name="T26" fmla="*/ 0 w 494"/>
                  <a:gd name="T27" fmla="*/ 0 h 592"/>
                  <a:gd name="T28" fmla="*/ 0 w 494"/>
                  <a:gd name="T29" fmla="*/ 0 h 592"/>
                  <a:gd name="T30" fmla="*/ 0 w 494"/>
                  <a:gd name="T31" fmla="*/ 0 h 592"/>
                  <a:gd name="T32" fmla="*/ 0 w 494"/>
                  <a:gd name="T33" fmla="*/ 0 h 592"/>
                  <a:gd name="T34" fmla="*/ 0 w 494"/>
                  <a:gd name="T35" fmla="*/ 0 h 592"/>
                  <a:gd name="T36" fmla="*/ 0 w 494"/>
                  <a:gd name="T37" fmla="*/ 0 h 592"/>
                  <a:gd name="T38" fmla="*/ 0 w 494"/>
                  <a:gd name="T39" fmla="*/ 0 h 592"/>
                  <a:gd name="T40" fmla="*/ 0 w 494"/>
                  <a:gd name="T41" fmla="*/ 0 h 592"/>
                  <a:gd name="T42" fmla="*/ 0 w 494"/>
                  <a:gd name="T43" fmla="*/ 0 h 592"/>
                  <a:gd name="T44" fmla="*/ 0 w 494"/>
                  <a:gd name="T45" fmla="*/ 0 h 592"/>
                  <a:gd name="T46" fmla="*/ 0 w 494"/>
                  <a:gd name="T47" fmla="*/ 0 h 592"/>
                  <a:gd name="T48" fmla="*/ 0 w 494"/>
                  <a:gd name="T49" fmla="*/ 0 h 592"/>
                  <a:gd name="T50" fmla="*/ 0 w 494"/>
                  <a:gd name="T51" fmla="*/ 0 h 592"/>
                  <a:gd name="T52" fmla="*/ 0 w 494"/>
                  <a:gd name="T53" fmla="*/ 0 h 592"/>
                  <a:gd name="T54" fmla="*/ 0 w 494"/>
                  <a:gd name="T55" fmla="*/ 0 h 592"/>
                  <a:gd name="T56" fmla="*/ 0 w 494"/>
                  <a:gd name="T57" fmla="*/ 0 h 592"/>
                  <a:gd name="T58" fmla="*/ 0 w 494"/>
                  <a:gd name="T59" fmla="*/ 0 h 592"/>
                  <a:gd name="T60" fmla="*/ 0 w 494"/>
                  <a:gd name="T61" fmla="*/ 0 h 592"/>
                  <a:gd name="T62" fmla="*/ 0 w 494"/>
                  <a:gd name="T63" fmla="*/ 0 h 592"/>
                  <a:gd name="T64" fmla="*/ 0 w 494"/>
                  <a:gd name="T65" fmla="*/ 0 h 592"/>
                  <a:gd name="T66" fmla="*/ 0 w 494"/>
                  <a:gd name="T67" fmla="*/ 0 h 592"/>
                  <a:gd name="T68" fmla="*/ 0 w 494"/>
                  <a:gd name="T69" fmla="*/ 0 h 592"/>
                  <a:gd name="T70" fmla="*/ 0 w 494"/>
                  <a:gd name="T71" fmla="*/ 0 h 592"/>
                  <a:gd name="T72" fmla="*/ 0 w 494"/>
                  <a:gd name="T73" fmla="*/ 0 h 592"/>
                  <a:gd name="T74" fmla="*/ 0 w 494"/>
                  <a:gd name="T75" fmla="*/ 0 h 592"/>
                  <a:gd name="T76" fmla="*/ 0 w 494"/>
                  <a:gd name="T77" fmla="*/ 0 h 592"/>
                  <a:gd name="T78" fmla="*/ 0 w 494"/>
                  <a:gd name="T79" fmla="*/ 0 h 592"/>
                  <a:gd name="T80" fmla="*/ 0 w 494"/>
                  <a:gd name="T81" fmla="*/ 0 h 592"/>
                  <a:gd name="T82" fmla="*/ 0 w 494"/>
                  <a:gd name="T83" fmla="*/ 0 h 592"/>
                  <a:gd name="T84" fmla="*/ 0 w 494"/>
                  <a:gd name="T85" fmla="*/ 0 h 592"/>
                  <a:gd name="T86" fmla="*/ 0 w 494"/>
                  <a:gd name="T87" fmla="*/ 0 h 592"/>
                  <a:gd name="T88" fmla="*/ 0 w 494"/>
                  <a:gd name="T89" fmla="*/ 0 h 592"/>
                  <a:gd name="T90" fmla="*/ 0 w 494"/>
                  <a:gd name="T91" fmla="*/ 0 h 592"/>
                  <a:gd name="T92" fmla="*/ 0 w 494"/>
                  <a:gd name="T93" fmla="*/ 0 h 59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94"/>
                  <a:gd name="T142" fmla="*/ 0 h 592"/>
                  <a:gd name="T143" fmla="*/ 494 w 494"/>
                  <a:gd name="T144" fmla="*/ 592 h 59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94" h="592">
                    <a:moveTo>
                      <a:pt x="112" y="32"/>
                    </a:moveTo>
                    <a:lnTo>
                      <a:pt x="154" y="20"/>
                    </a:lnTo>
                    <a:lnTo>
                      <a:pt x="204" y="30"/>
                    </a:lnTo>
                    <a:lnTo>
                      <a:pt x="228" y="0"/>
                    </a:lnTo>
                    <a:lnTo>
                      <a:pt x="304" y="24"/>
                    </a:lnTo>
                    <a:lnTo>
                      <a:pt x="306" y="76"/>
                    </a:lnTo>
                    <a:lnTo>
                      <a:pt x="290" y="126"/>
                    </a:lnTo>
                    <a:lnTo>
                      <a:pt x="262" y="154"/>
                    </a:lnTo>
                    <a:lnTo>
                      <a:pt x="242" y="186"/>
                    </a:lnTo>
                    <a:lnTo>
                      <a:pt x="246" y="216"/>
                    </a:lnTo>
                    <a:lnTo>
                      <a:pt x="288" y="174"/>
                    </a:lnTo>
                    <a:lnTo>
                      <a:pt x="330" y="156"/>
                    </a:lnTo>
                    <a:lnTo>
                      <a:pt x="334" y="90"/>
                    </a:lnTo>
                    <a:lnTo>
                      <a:pt x="422" y="130"/>
                    </a:lnTo>
                    <a:lnTo>
                      <a:pt x="408" y="148"/>
                    </a:lnTo>
                    <a:lnTo>
                      <a:pt x="368" y="140"/>
                    </a:lnTo>
                    <a:lnTo>
                      <a:pt x="368" y="178"/>
                    </a:lnTo>
                    <a:lnTo>
                      <a:pt x="384" y="190"/>
                    </a:lnTo>
                    <a:lnTo>
                      <a:pt x="392" y="224"/>
                    </a:lnTo>
                    <a:lnTo>
                      <a:pt x="370" y="264"/>
                    </a:lnTo>
                    <a:lnTo>
                      <a:pt x="360" y="328"/>
                    </a:lnTo>
                    <a:lnTo>
                      <a:pt x="392" y="346"/>
                    </a:lnTo>
                    <a:lnTo>
                      <a:pt x="438" y="336"/>
                    </a:lnTo>
                    <a:lnTo>
                      <a:pt x="458" y="378"/>
                    </a:lnTo>
                    <a:lnTo>
                      <a:pt x="494" y="406"/>
                    </a:lnTo>
                    <a:lnTo>
                      <a:pt x="478" y="424"/>
                    </a:lnTo>
                    <a:lnTo>
                      <a:pt x="436" y="426"/>
                    </a:lnTo>
                    <a:lnTo>
                      <a:pt x="412" y="446"/>
                    </a:lnTo>
                    <a:lnTo>
                      <a:pt x="386" y="428"/>
                    </a:lnTo>
                    <a:lnTo>
                      <a:pt x="376" y="448"/>
                    </a:lnTo>
                    <a:lnTo>
                      <a:pt x="382" y="472"/>
                    </a:lnTo>
                    <a:lnTo>
                      <a:pt x="340" y="474"/>
                    </a:lnTo>
                    <a:lnTo>
                      <a:pt x="328" y="580"/>
                    </a:lnTo>
                    <a:lnTo>
                      <a:pt x="288" y="592"/>
                    </a:lnTo>
                    <a:lnTo>
                      <a:pt x="218" y="556"/>
                    </a:lnTo>
                    <a:lnTo>
                      <a:pt x="126" y="520"/>
                    </a:lnTo>
                    <a:lnTo>
                      <a:pt x="136" y="452"/>
                    </a:lnTo>
                    <a:lnTo>
                      <a:pt x="84" y="442"/>
                    </a:lnTo>
                    <a:lnTo>
                      <a:pt x="50" y="374"/>
                    </a:lnTo>
                    <a:lnTo>
                      <a:pt x="44" y="312"/>
                    </a:lnTo>
                    <a:lnTo>
                      <a:pt x="14" y="272"/>
                    </a:lnTo>
                    <a:lnTo>
                      <a:pt x="0" y="226"/>
                    </a:lnTo>
                    <a:lnTo>
                      <a:pt x="44" y="218"/>
                    </a:lnTo>
                    <a:lnTo>
                      <a:pt x="64" y="164"/>
                    </a:lnTo>
                    <a:lnTo>
                      <a:pt x="90" y="138"/>
                    </a:lnTo>
                    <a:lnTo>
                      <a:pt x="102" y="88"/>
                    </a:lnTo>
                    <a:lnTo>
                      <a:pt x="112" y="32"/>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24" name="Freeform 60"/>
              <p:cNvSpPr>
                <a:spLocks/>
              </p:cNvSpPr>
              <p:nvPr/>
            </p:nvSpPr>
            <p:spPr bwMode="auto">
              <a:xfrm>
                <a:off x="3147" y="3068"/>
                <a:ext cx="166" cy="261"/>
              </a:xfrm>
              <a:custGeom>
                <a:avLst/>
                <a:gdLst>
                  <a:gd name="T0" fmla="*/ 0 w 398"/>
                  <a:gd name="T1" fmla="*/ 0 h 758"/>
                  <a:gd name="T2" fmla="*/ 0 w 398"/>
                  <a:gd name="T3" fmla="*/ 0 h 758"/>
                  <a:gd name="T4" fmla="*/ 0 w 398"/>
                  <a:gd name="T5" fmla="*/ 0 h 758"/>
                  <a:gd name="T6" fmla="*/ 0 w 398"/>
                  <a:gd name="T7" fmla="*/ 0 h 758"/>
                  <a:gd name="T8" fmla="*/ 0 w 398"/>
                  <a:gd name="T9" fmla="*/ 0 h 758"/>
                  <a:gd name="T10" fmla="*/ 0 w 398"/>
                  <a:gd name="T11" fmla="*/ 0 h 758"/>
                  <a:gd name="T12" fmla="*/ 0 w 398"/>
                  <a:gd name="T13" fmla="*/ 0 h 758"/>
                  <a:gd name="T14" fmla="*/ 0 w 398"/>
                  <a:gd name="T15" fmla="*/ 0 h 758"/>
                  <a:gd name="T16" fmla="*/ 0 w 398"/>
                  <a:gd name="T17" fmla="*/ 0 h 758"/>
                  <a:gd name="T18" fmla="*/ 0 w 398"/>
                  <a:gd name="T19" fmla="*/ 0 h 758"/>
                  <a:gd name="T20" fmla="*/ 0 w 398"/>
                  <a:gd name="T21" fmla="*/ 0 h 758"/>
                  <a:gd name="T22" fmla="*/ 0 w 398"/>
                  <a:gd name="T23" fmla="*/ 0 h 758"/>
                  <a:gd name="T24" fmla="*/ 0 w 398"/>
                  <a:gd name="T25" fmla="*/ 0 h 758"/>
                  <a:gd name="T26" fmla="*/ 0 w 398"/>
                  <a:gd name="T27" fmla="*/ 0 h 758"/>
                  <a:gd name="T28" fmla="*/ 0 w 398"/>
                  <a:gd name="T29" fmla="*/ 0 h 758"/>
                  <a:gd name="T30" fmla="*/ 0 w 398"/>
                  <a:gd name="T31" fmla="*/ 0 h 758"/>
                  <a:gd name="T32" fmla="*/ 0 w 398"/>
                  <a:gd name="T33" fmla="*/ 0 h 758"/>
                  <a:gd name="T34" fmla="*/ 0 w 398"/>
                  <a:gd name="T35" fmla="*/ 0 h 758"/>
                  <a:gd name="T36" fmla="*/ 0 w 398"/>
                  <a:gd name="T37" fmla="*/ 0 h 758"/>
                  <a:gd name="T38" fmla="*/ 0 w 398"/>
                  <a:gd name="T39" fmla="*/ 0 h 758"/>
                  <a:gd name="T40" fmla="*/ 0 w 398"/>
                  <a:gd name="T41" fmla="*/ 0 h 758"/>
                  <a:gd name="T42" fmla="*/ 0 w 398"/>
                  <a:gd name="T43" fmla="*/ 0 h 758"/>
                  <a:gd name="T44" fmla="*/ 0 w 398"/>
                  <a:gd name="T45" fmla="*/ 0 h 758"/>
                  <a:gd name="T46" fmla="*/ 0 w 398"/>
                  <a:gd name="T47" fmla="*/ 0 h 758"/>
                  <a:gd name="T48" fmla="*/ 0 w 398"/>
                  <a:gd name="T49" fmla="*/ 0 h 758"/>
                  <a:gd name="T50" fmla="*/ 0 w 398"/>
                  <a:gd name="T51" fmla="*/ 0 h 758"/>
                  <a:gd name="T52" fmla="*/ 0 w 398"/>
                  <a:gd name="T53" fmla="*/ 0 h 758"/>
                  <a:gd name="T54" fmla="*/ 0 w 398"/>
                  <a:gd name="T55" fmla="*/ 0 h 758"/>
                  <a:gd name="T56" fmla="*/ 0 w 398"/>
                  <a:gd name="T57" fmla="*/ 0 h 758"/>
                  <a:gd name="T58" fmla="*/ 0 w 398"/>
                  <a:gd name="T59" fmla="*/ 0 h 758"/>
                  <a:gd name="T60" fmla="*/ 0 w 398"/>
                  <a:gd name="T61" fmla="*/ 0 h 758"/>
                  <a:gd name="T62" fmla="*/ 0 w 398"/>
                  <a:gd name="T63" fmla="*/ 0 h 7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8"/>
                  <a:gd name="T97" fmla="*/ 0 h 758"/>
                  <a:gd name="T98" fmla="*/ 398 w 398"/>
                  <a:gd name="T99" fmla="*/ 758 h 7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8" h="758">
                    <a:moveTo>
                      <a:pt x="206" y="736"/>
                    </a:moveTo>
                    <a:lnTo>
                      <a:pt x="216" y="644"/>
                    </a:lnTo>
                    <a:lnTo>
                      <a:pt x="258" y="648"/>
                    </a:lnTo>
                    <a:lnTo>
                      <a:pt x="294" y="622"/>
                    </a:lnTo>
                    <a:lnTo>
                      <a:pt x="322" y="644"/>
                    </a:lnTo>
                    <a:lnTo>
                      <a:pt x="334" y="624"/>
                    </a:lnTo>
                    <a:lnTo>
                      <a:pt x="324" y="590"/>
                    </a:lnTo>
                    <a:lnTo>
                      <a:pt x="264" y="568"/>
                    </a:lnTo>
                    <a:lnTo>
                      <a:pt x="278" y="530"/>
                    </a:lnTo>
                    <a:lnTo>
                      <a:pt x="302" y="514"/>
                    </a:lnTo>
                    <a:lnTo>
                      <a:pt x="290" y="434"/>
                    </a:lnTo>
                    <a:lnTo>
                      <a:pt x="274" y="398"/>
                    </a:lnTo>
                    <a:lnTo>
                      <a:pt x="276" y="358"/>
                    </a:lnTo>
                    <a:lnTo>
                      <a:pt x="286" y="316"/>
                    </a:lnTo>
                    <a:lnTo>
                      <a:pt x="314" y="286"/>
                    </a:lnTo>
                    <a:lnTo>
                      <a:pt x="344" y="284"/>
                    </a:lnTo>
                    <a:lnTo>
                      <a:pt x="382" y="258"/>
                    </a:lnTo>
                    <a:lnTo>
                      <a:pt x="396" y="238"/>
                    </a:lnTo>
                    <a:lnTo>
                      <a:pt x="398" y="194"/>
                    </a:lnTo>
                    <a:lnTo>
                      <a:pt x="348" y="146"/>
                    </a:lnTo>
                    <a:lnTo>
                      <a:pt x="362" y="130"/>
                    </a:lnTo>
                    <a:lnTo>
                      <a:pt x="364" y="110"/>
                    </a:lnTo>
                    <a:lnTo>
                      <a:pt x="334" y="90"/>
                    </a:lnTo>
                    <a:lnTo>
                      <a:pt x="304" y="92"/>
                    </a:lnTo>
                    <a:lnTo>
                      <a:pt x="256" y="98"/>
                    </a:lnTo>
                    <a:lnTo>
                      <a:pt x="240" y="66"/>
                    </a:lnTo>
                    <a:lnTo>
                      <a:pt x="222" y="40"/>
                    </a:lnTo>
                    <a:lnTo>
                      <a:pt x="184" y="18"/>
                    </a:lnTo>
                    <a:lnTo>
                      <a:pt x="132" y="0"/>
                    </a:lnTo>
                    <a:lnTo>
                      <a:pt x="148" y="50"/>
                    </a:lnTo>
                    <a:lnTo>
                      <a:pt x="166" y="74"/>
                    </a:lnTo>
                    <a:lnTo>
                      <a:pt x="166" y="102"/>
                    </a:lnTo>
                    <a:lnTo>
                      <a:pt x="152" y="112"/>
                    </a:lnTo>
                    <a:lnTo>
                      <a:pt x="150" y="138"/>
                    </a:lnTo>
                    <a:lnTo>
                      <a:pt x="186" y="164"/>
                    </a:lnTo>
                    <a:lnTo>
                      <a:pt x="172" y="226"/>
                    </a:lnTo>
                    <a:lnTo>
                      <a:pt x="142" y="242"/>
                    </a:lnTo>
                    <a:lnTo>
                      <a:pt x="134" y="286"/>
                    </a:lnTo>
                    <a:lnTo>
                      <a:pt x="148" y="332"/>
                    </a:lnTo>
                    <a:lnTo>
                      <a:pt x="150" y="370"/>
                    </a:lnTo>
                    <a:lnTo>
                      <a:pt x="114" y="358"/>
                    </a:lnTo>
                    <a:lnTo>
                      <a:pt x="112" y="324"/>
                    </a:lnTo>
                    <a:lnTo>
                      <a:pt x="82" y="310"/>
                    </a:lnTo>
                    <a:lnTo>
                      <a:pt x="54" y="332"/>
                    </a:lnTo>
                    <a:lnTo>
                      <a:pt x="64" y="372"/>
                    </a:lnTo>
                    <a:lnTo>
                      <a:pt x="38" y="404"/>
                    </a:lnTo>
                    <a:lnTo>
                      <a:pt x="30" y="474"/>
                    </a:lnTo>
                    <a:lnTo>
                      <a:pt x="68" y="488"/>
                    </a:lnTo>
                    <a:lnTo>
                      <a:pt x="108" y="478"/>
                    </a:lnTo>
                    <a:lnTo>
                      <a:pt x="130" y="524"/>
                    </a:lnTo>
                    <a:lnTo>
                      <a:pt x="164" y="550"/>
                    </a:lnTo>
                    <a:lnTo>
                      <a:pt x="156" y="570"/>
                    </a:lnTo>
                    <a:lnTo>
                      <a:pt x="110" y="570"/>
                    </a:lnTo>
                    <a:lnTo>
                      <a:pt x="84" y="594"/>
                    </a:lnTo>
                    <a:lnTo>
                      <a:pt x="60" y="574"/>
                    </a:lnTo>
                    <a:lnTo>
                      <a:pt x="46" y="590"/>
                    </a:lnTo>
                    <a:lnTo>
                      <a:pt x="54" y="620"/>
                    </a:lnTo>
                    <a:lnTo>
                      <a:pt x="10" y="614"/>
                    </a:lnTo>
                    <a:lnTo>
                      <a:pt x="0" y="728"/>
                    </a:lnTo>
                    <a:lnTo>
                      <a:pt x="30" y="744"/>
                    </a:lnTo>
                    <a:lnTo>
                      <a:pt x="54" y="720"/>
                    </a:lnTo>
                    <a:lnTo>
                      <a:pt x="84" y="758"/>
                    </a:lnTo>
                    <a:lnTo>
                      <a:pt x="168" y="728"/>
                    </a:lnTo>
                    <a:lnTo>
                      <a:pt x="206" y="73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9825" name="Group 61"/>
              <p:cNvGrpSpPr>
                <a:grpSpLocks/>
              </p:cNvGrpSpPr>
              <p:nvPr/>
            </p:nvGrpSpPr>
            <p:grpSpPr bwMode="auto">
              <a:xfrm>
                <a:off x="2426" y="2858"/>
                <a:ext cx="641" cy="851"/>
                <a:chOff x="2426" y="2858"/>
                <a:chExt cx="641" cy="851"/>
              </a:xfrm>
            </p:grpSpPr>
            <p:sp>
              <p:nvSpPr>
                <p:cNvPr id="29833" name="Freeform 62"/>
                <p:cNvSpPr>
                  <a:spLocks/>
                </p:cNvSpPr>
                <p:nvPr/>
              </p:nvSpPr>
              <p:spPr bwMode="auto">
                <a:xfrm>
                  <a:off x="2680" y="2858"/>
                  <a:ext cx="334" cy="271"/>
                </a:xfrm>
                <a:custGeom>
                  <a:avLst/>
                  <a:gdLst>
                    <a:gd name="T0" fmla="*/ 0 w 800"/>
                    <a:gd name="T1" fmla="*/ 0 h 786"/>
                    <a:gd name="T2" fmla="*/ 0 w 800"/>
                    <a:gd name="T3" fmla="*/ 0 h 786"/>
                    <a:gd name="T4" fmla="*/ 0 w 800"/>
                    <a:gd name="T5" fmla="*/ 0 h 786"/>
                    <a:gd name="T6" fmla="*/ 0 w 800"/>
                    <a:gd name="T7" fmla="*/ 0 h 786"/>
                    <a:gd name="T8" fmla="*/ 0 w 800"/>
                    <a:gd name="T9" fmla="*/ 0 h 786"/>
                    <a:gd name="T10" fmla="*/ 0 w 800"/>
                    <a:gd name="T11" fmla="*/ 0 h 786"/>
                    <a:gd name="T12" fmla="*/ 0 w 800"/>
                    <a:gd name="T13" fmla="*/ 0 h 786"/>
                    <a:gd name="T14" fmla="*/ 0 w 800"/>
                    <a:gd name="T15" fmla="*/ 0 h 786"/>
                    <a:gd name="T16" fmla="*/ 0 w 800"/>
                    <a:gd name="T17" fmla="*/ 0 h 786"/>
                    <a:gd name="T18" fmla="*/ 0 w 800"/>
                    <a:gd name="T19" fmla="*/ 0 h 786"/>
                    <a:gd name="T20" fmla="*/ 0 w 800"/>
                    <a:gd name="T21" fmla="*/ 0 h 786"/>
                    <a:gd name="T22" fmla="*/ 0 w 800"/>
                    <a:gd name="T23" fmla="*/ 0 h 786"/>
                    <a:gd name="T24" fmla="*/ 0 w 800"/>
                    <a:gd name="T25" fmla="*/ 0 h 786"/>
                    <a:gd name="T26" fmla="*/ 0 w 800"/>
                    <a:gd name="T27" fmla="*/ 0 h 786"/>
                    <a:gd name="T28" fmla="*/ 0 w 800"/>
                    <a:gd name="T29" fmla="*/ 0 h 786"/>
                    <a:gd name="T30" fmla="*/ 0 w 800"/>
                    <a:gd name="T31" fmla="*/ 0 h 786"/>
                    <a:gd name="T32" fmla="*/ 0 w 800"/>
                    <a:gd name="T33" fmla="*/ 0 h 786"/>
                    <a:gd name="T34" fmla="*/ 0 w 800"/>
                    <a:gd name="T35" fmla="*/ 0 h 786"/>
                    <a:gd name="T36" fmla="*/ 0 w 800"/>
                    <a:gd name="T37" fmla="*/ 0 h 786"/>
                    <a:gd name="T38" fmla="*/ 0 w 800"/>
                    <a:gd name="T39" fmla="*/ 0 h 786"/>
                    <a:gd name="T40" fmla="*/ 0 w 800"/>
                    <a:gd name="T41" fmla="*/ 0 h 786"/>
                    <a:gd name="T42" fmla="*/ 0 w 800"/>
                    <a:gd name="T43" fmla="*/ 0 h 786"/>
                    <a:gd name="T44" fmla="*/ 0 w 800"/>
                    <a:gd name="T45" fmla="*/ 0 h 786"/>
                    <a:gd name="T46" fmla="*/ 0 w 800"/>
                    <a:gd name="T47" fmla="*/ 0 h 786"/>
                    <a:gd name="T48" fmla="*/ 0 w 800"/>
                    <a:gd name="T49" fmla="*/ 0 h 786"/>
                    <a:gd name="T50" fmla="*/ 0 w 800"/>
                    <a:gd name="T51" fmla="*/ 0 h 786"/>
                    <a:gd name="T52" fmla="*/ 0 w 800"/>
                    <a:gd name="T53" fmla="*/ 0 h 786"/>
                    <a:gd name="T54" fmla="*/ 0 w 800"/>
                    <a:gd name="T55" fmla="*/ 0 h 786"/>
                    <a:gd name="T56" fmla="*/ 0 w 800"/>
                    <a:gd name="T57" fmla="*/ 0 h 786"/>
                    <a:gd name="T58" fmla="*/ 0 w 800"/>
                    <a:gd name="T59" fmla="*/ 0 h 786"/>
                    <a:gd name="T60" fmla="*/ 0 w 800"/>
                    <a:gd name="T61" fmla="*/ 0 h 786"/>
                    <a:gd name="T62" fmla="*/ 0 w 800"/>
                    <a:gd name="T63" fmla="*/ 0 h 786"/>
                    <a:gd name="T64" fmla="*/ 0 w 800"/>
                    <a:gd name="T65" fmla="*/ 0 h 786"/>
                    <a:gd name="T66" fmla="*/ 0 w 800"/>
                    <a:gd name="T67" fmla="*/ 0 h 7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0"/>
                    <a:gd name="T103" fmla="*/ 0 h 786"/>
                    <a:gd name="T104" fmla="*/ 800 w 800"/>
                    <a:gd name="T105" fmla="*/ 786 h 7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0" h="786">
                      <a:moveTo>
                        <a:pt x="764" y="68"/>
                      </a:moveTo>
                      <a:lnTo>
                        <a:pt x="722" y="84"/>
                      </a:lnTo>
                      <a:lnTo>
                        <a:pt x="700" y="110"/>
                      </a:lnTo>
                      <a:lnTo>
                        <a:pt x="646" y="162"/>
                      </a:lnTo>
                      <a:lnTo>
                        <a:pt x="584" y="184"/>
                      </a:lnTo>
                      <a:lnTo>
                        <a:pt x="518" y="166"/>
                      </a:lnTo>
                      <a:lnTo>
                        <a:pt x="484" y="122"/>
                      </a:lnTo>
                      <a:lnTo>
                        <a:pt x="412" y="146"/>
                      </a:lnTo>
                      <a:lnTo>
                        <a:pt x="336" y="138"/>
                      </a:lnTo>
                      <a:lnTo>
                        <a:pt x="306" y="126"/>
                      </a:lnTo>
                      <a:lnTo>
                        <a:pt x="212" y="134"/>
                      </a:lnTo>
                      <a:lnTo>
                        <a:pt x="92" y="74"/>
                      </a:lnTo>
                      <a:lnTo>
                        <a:pt x="80" y="54"/>
                      </a:lnTo>
                      <a:lnTo>
                        <a:pt x="34" y="50"/>
                      </a:lnTo>
                      <a:lnTo>
                        <a:pt x="0" y="0"/>
                      </a:lnTo>
                      <a:lnTo>
                        <a:pt x="2" y="62"/>
                      </a:lnTo>
                      <a:lnTo>
                        <a:pt x="44" y="90"/>
                      </a:lnTo>
                      <a:lnTo>
                        <a:pt x="112" y="130"/>
                      </a:lnTo>
                      <a:lnTo>
                        <a:pt x="160" y="154"/>
                      </a:lnTo>
                      <a:lnTo>
                        <a:pt x="216" y="164"/>
                      </a:lnTo>
                      <a:lnTo>
                        <a:pt x="264" y="164"/>
                      </a:lnTo>
                      <a:lnTo>
                        <a:pt x="304" y="174"/>
                      </a:lnTo>
                      <a:lnTo>
                        <a:pt x="344" y="198"/>
                      </a:lnTo>
                      <a:lnTo>
                        <a:pt x="374" y="220"/>
                      </a:lnTo>
                      <a:lnTo>
                        <a:pt x="382" y="232"/>
                      </a:lnTo>
                      <a:lnTo>
                        <a:pt x="390" y="278"/>
                      </a:lnTo>
                      <a:lnTo>
                        <a:pt x="376" y="318"/>
                      </a:lnTo>
                      <a:lnTo>
                        <a:pt x="392" y="336"/>
                      </a:lnTo>
                      <a:lnTo>
                        <a:pt x="366" y="402"/>
                      </a:lnTo>
                      <a:lnTo>
                        <a:pt x="360" y="430"/>
                      </a:lnTo>
                      <a:lnTo>
                        <a:pt x="330" y="466"/>
                      </a:lnTo>
                      <a:lnTo>
                        <a:pt x="308" y="452"/>
                      </a:lnTo>
                      <a:lnTo>
                        <a:pt x="250" y="462"/>
                      </a:lnTo>
                      <a:lnTo>
                        <a:pt x="188" y="502"/>
                      </a:lnTo>
                      <a:lnTo>
                        <a:pt x="140" y="470"/>
                      </a:lnTo>
                      <a:lnTo>
                        <a:pt x="140" y="492"/>
                      </a:lnTo>
                      <a:lnTo>
                        <a:pt x="158" y="520"/>
                      </a:lnTo>
                      <a:lnTo>
                        <a:pt x="162" y="590"/>
                      </a:lnTo>
                      <a:lnTo>
                        <a:pt x="168" y="646"/>
                      </a:lnTo>
                      <a:lnTo>
                        <a:pt x="142" y="692"/>
                      </a:lnTo>
                      <a:lnTo>
                        <a:pt x="106" y="722"/>
                      </a:lnTo>
                      <a:lnTo>
                        <a:pt x="154" y="744"/>
                      </a:lnTo>
                      <a:lnTo>
                        <a:pt x="164" y="774"/>
                      </a:lnTo>
                      <a:lnTo>
                        <a:pt x="194" y="772"/>
                      </a:lnTo>
                      <a:lnTo>
                        <a:pt x="250" y="776"/>
                      </a:lnTo>
                      <a:lnTo>
                        <a:pt x="290" y="786"/>
                      </a:lnTo>
                      <a:lnTo>
                        <a:pt x="384" y="692"/>
                      </a:lnTo>
                      <a:lnTo>
                        <a:pt x="528" y="682"/>
                      </a:lnTo>
                      <a:lnTo>
                        <a:pt x="540" y="660"/>
                      </a:lnTo>
                      <a:lnTo>
                        <a:pt x="528" y="634"/>
                      </a:lnTo>
                      <a:lnTo>
                        <a:pt x="578" y="616"/>
                      </a:lnTo>
                      <a:lnTo>
                        <a:pt x="604" y="536"/>
                      </a:lnTo>
                      <a:lnTo>
                        <a:pt x="676" y="556"/>
                      </a:lnTo>
                      <a:lnTo>
                        <a:pt x="708" y="518"/>
                      </a:lnTo>
                      <a:lnTo>
                        <a:pt x="682" y="412"/>
                      </a:lnTo>
                      <a:lnTo>
                        <a:pt x="652" y="366"/>
                      </a:lnTo>
                      <a:lnTo>
                        <a:pt x="610" y="330"/>
                      </a:lnTo>
                      <a:lnTo>
                        <a:pt x="598" y="314"/>
                      </a:lnTo>
                      <a:lnTo>
                        <a:pt x="632" y="258"/>
                      </a:lnTo>
                      <a:lnTo>
                        <a:pt x="658" y="262"/>
                      </a:lnTo>
                      <a:lnTo>
                        <a:pt x="670" y="284"/>
                      </a:lnTo>
                      <a:lnTo>
                        <a:pt x="708" y="298"/>
                      </a:lnTo>
                      <a:lnTo>
                        <a:pt x="734" y="264"/>
                      </a:lnTo>
                      <a:lnTo>
                        <a:pt x="720" y="230"/>
                      </a:lnTo>
                      <a:lnTo>
                        <a:pt x="732" y="188"/>
                      </a:lnTo>
                      <a:lnTo>
                        <a:pt x="762" y="156"/>
                      </a:lnTo>
                      <a:lnTo>
                        <a:pt x="800" y="136"/>
                      </a:lnTo>
                      <a:lnTo>
                        <a:pt x="764" y="6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4" name="Freeform 63"/>
                <p:cNvSpPr>
                  <a:spLocks/>
                </p:cNvSpPr>
                <p:nvPr/>
              </p:nvSpPr>
              <p:spPr bwMode="auto">
                <a:xfrm>
                  <a:off x="3008" y="3052"/>
                  <a:ext cx="38" cy="52"/>
                </a:xfrm>
                <a:custGeom>
                  <a:avLst/>
                  <a:gdLst>
                    <a:gd name="T0" fmla="*/ 0 w 90"/>
                    <a:gd name="T1" fmla="*/ 0 h 150"/>
                    <a:gd name="T2" fmla="*/ 0 w 90"/>
                    <a:gd name="T3" fmla="*/ 0 h 150"/>
                    <a:gd name="T4" fmla="*/ 0 w 90"/>
                    <a:gd name="T5" fmla="*/ 0 h 150"/>
                    <a:gd name="T6" fmla="*/ 0 w 90"/>
                    <a:gd name="T7" fmla="*/ 0 h 150"/>
                    <a:gd name="T8" fmla="*/ 0 w 90"/>
                    <a:gd name="T9" fmla="*/ 0 h 150"/>
                    <a:gd name="T10" fmla="*/ 0 w 90"/>
                    <a:gd name="T11" fmla="*/ 0 h 150"/>
                    <a:gd name="T12" fmla="*/ 0 w 90"/>
                    <a:gd name="T13" fmla="*/ 0 h 150"/>
                    <a:gd name="T14" fmla="*/ 0 w 90"/>
                    <a:gd name="T15" fmla="*/ 0 h 150"/>
                    <a:gd name="T16" fmla="*/ 0 w 90"/>
                    <a:gd name="T17" fmla="*/ 0 h 150"/>
                    <a:gd name="T18" fmla="*/ 0 w 90"/>
                    <a:gd name="T19" fmla="*/ 0 h 150"/>
                    <a:gd name="T20" fmla="*/ 0 w 90"/>
                    <a:gd name="T21" fmla="*/ 0 h 150"/>
                    <a:gd name="T22" fmla="*/ 0 w 90"/>
                    <a:gd name="T23" fmla="*/ 0 h 1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150"/>
                    <a:gd name="T38" fmla="*/ 90 w 90"/>
                    <a:gd name="T39" fmla="*/ 150 h 1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150">
                      <a:moveTo>
                        <a:pt x="30" y="138"/>
                      </a:moveTo>
                      <a:lnTo>
                        <a:pt x="52" y="150"/>
                      </a:lnTo>
                      <a:lnTo>
                        <a:pt x="78" y="136"/>
                      </a:lnTo>
                      <a:lnTo>
                        <a:pt x="90" y="84"/>
                      </a:lnTo>
                      <a:lnTo>
                        <a:pt x="86" y="22"/>
                      </a:lnTo>
                      <a:lnTo>
                        <a:pt x="72" y="0"/>
                      </a:lnTo>
                      <a:lnTo>
                        <a:pt x="54" y="20"/>
                      </a:lnTo>
                      <a:lnTo>
                        <a:pt x="50" y="48"/>
                      </a:lnTo>
                      <a:lnTo>
                        <a:pt x="22" y="42"/>
                      </a:lnTo>
                      <a:lnTo>
                        <a:pt x="0" y="48"/>
                      </a:lnTo>
                      <a:lnTo>
                        <a:pt x="8" y="106"/>
                      </a:lnTo>
                      <a:lnTo>
                        <a:pt x="30" y="13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5" name="Freeform 64"/>
                <p:cNvSpPr>
                  <a:spLocks/>
                </p:cNvSpPr>
                <p:nvPr/>
              </p:nvSpPr>
              <p:spPr bwMode="auto">
                <a:xfrm>
                  <a:off x="2735" y="3062"/>
                  <a:ext cx="332" cy="278"/>
                </a:xfrm>
                <a:custGeom>
                  <a:avLst/>
                  <a:gdLst>
                    <a:gd name="T0" fmla="*/ 0 w 798"/>
                    <a:gd name="T1" fmla="*/ 0 h 804"/>
                    <a:gd name="T2" fmla="*/ 0 w 798"/>
                    <a:gd name="T3" fmla="*/ 0 h 804"/>
                    <a:gd name="T4" fmla="*/ 0 w 798"/>
                    <a:gd name="T5" fmla="*/ 0 h 804"/>
                    <a:gd name="T6" fmla="*/ 0 w 798"/>
                    <a:gd name="T7" fmla="*/ 0 h 804"/>
                    <a:gd name="T8" fmla="*/ 0 w 798"/>
                    <a:gd name="T9" fmla="*/ 0 h 804"/>
                    <a:gd name="T10" fmla="*/ 0 w 798"/>
                    <a:gd name="T11" fmla="*/ 0 h 804"/>
                    <a:gd name="T12" fmla="*/ 0 w 798"/>
                    <a:gd name="T13" fmla="*/ 0 h 804"/>
                    <a:gd name="T14" fmla="*/ 0 w 798"/>
                    <a:gd name="T15" fmla="*/ 0 h 804"/>
                    <a:gd name="T16" fmla="*/ 0 w 798"/>
                    <a:gd name="T17" fmla="*/ 0 h 804"/>
                    <a:gd name="T18" fmla="*/ 0 w 798"/>
                    <a:gd name="T19" fmla="*/ 0 h 804"/>
                    <a:gd name="T20" fmla="*/ 0 w 798"/>
                    <a:gd name="T21" fmla="*/ 0 h 804"/>
                    <a:gd name="T22" fmla="*/ 0 w 798"/>
                    <a:gd name="T23" fmla="*/ 0 h 804"/>
                    <a:gd name="T24" fmla="*/ 0 w 798"/>
                    <a:gd name="T25" fmla="*/ 0 h 804"/>
                    <a:gd name="T26" fmla="*/ 0 w 798"/>
                    <a:gd name="T27" fmla="*/ 0 h 804"/>
                    <a:gd name="T28" fmla="*/ 0 w 798"/>
                    <a:gd name="T29" fmla="*/ 0 h 804"/>
                    <a:gd name="T30" fmla="*/ 0 w 798"/>
                    <a:gd name="T31" fmla="*/ 0 h 804"/>
                    <a:gd name="T32" fmla="*/ 0 w 798"/>
                    <a:gd name="T33" fmla="*/ 0 h 804"/>
                    <a:gd name="T34" fmla="*/ 0 w 798"/>
                    <a:gd name="T35" fmla="*/ 0 h 804"/>
                    <a:gd name="T36" fmla="*/ 0 w 798"/>
                    <a:gd name="T37" fmla="*/ 0 h 804"/>
                    <a:gd name="T38" fmla="*/ 0 w 798"/>
                    <a:gd name="T39" fmla="*/ 0 h 804"/>
                    <a:gd name="T40" fmla="*/ 0 w 798"/>
                    <a:gd name="T41" fmla="*/ 0 h 804"/>
                    <a:gd name="T42" fmla="*/ 0 w 798"/>
                    <a:gd name="T43" fmla="*/ 0 h 804"/>
                    <a:gd name="T44" fmla="*/ 0 w 798"/>
                    <a:gd name="T45" fmla="*/ 0 h 804"/>
                    <a:gd name="T46" fmla="*/ 0 w 798"/>
                    <a:gd name="T47" fmla="*/ 0 h 804"/>
                    <a:gd name="T48" fmla="*/ 0 w 798"/>
                    <a:gd name="T49" fmla="*/ 0 h 804"/>
                    <a:gd name="T50" fmla="*/ 0 w 798"/>
                    <a:gd name="T51" fmla="*/ 0 h 804"/>
                    <a:gd name="T52" fmla="*/ 0 w 798"/>
                    <a:gd name="T53" fmla="*/ 0 h 804"/>
                    <a:gd name="T54" fmla="*/ 0 w 798"/>
                    <a:gd name="T55" fmla="*/ 0 h 804"/>
                    <a:gd name="T56" fmla="*/ 0 w 798"/>
                    <a:gd name="T57" fmla="*/ 0 h 804"/>
                    <a:gd name="T58" fmla="*/ 0 w 798"/>
                    <a:gd name="T59" fmla="*/ 0 h 804"/>
                    <a:gd name="T60" fmla="*/ 0 w 798"/>
                    <a:gd name="T61" fmla="*/ 0 h 804"/>
                    <a:gd name="T62" fmla="*/ 0 w 798"/>
                    <a:gd name="T63" fmla="*/ 0 h 8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98"/>
                    <a:gd name="T97" fmla="*/ 0 h 804"/>
                    <a:gd name="T98" fmla="*/ 798 w 798"/>
                    <a:gd name="T99" fmla="*/ 804 h 8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98" h="804">
                      <a:moveTo>
                        <a:pt x="646" y="132"/>
                      </a:moveTo>
                      <a:lnTo>
                        <a:pt x="618" y="116"/>
                      </a:lnTo>
                      <a:lnTo>
                        <a:pt x="608" y="84"/>
                      </a:lnTo>
                      <a:lnTo>
                        <a:pt x="618" y="68"/>
                      </a:lnTo>
                      <a:lnTo>
                        <a:pt x="580" y="0"/>
                      </a:lnTo>
                      <a:lnTo>
                        <a:pt x="540" y="26"/>
                      </a:lnTo>
                      <a:lnTo>
                        <a:pt x="502" y="40"/>
                      </a:lnTo>
                      <a:lnTo>
                        <a:pt x="478" y="66"/>
                      </a:lnTo>
                      <a:lnTo>
                        <a:pt x="456" y="78"/>
                      </a:lnTo>
                      <a:lnTo>
                        <a:pt x="408" y="68"/>
                      </a:lnTo>
                      <a:lnTo>
                        <a:pt x="396" y="88"/>
                      </a:lnTo>
                      <a:lnTo>
                        <a:pt x="250" y="100"/>
                      </a:lnTo>
                      <a:lnTo>
                        <a:pt x="160" y="194"/>
                      </a:lnTo>
                      <a:lnTo>
                        <a:pt x="112" y="184"/>
                      </a:lnTo>
                      <a:lnTo>
                        <a:pt x="74" y="186"/>
                      </a:lnTo>
                      <a:lnTo>
                        <a:pt x="78" y="242"/>
                      </a:lnTo>
                      <a:lnTo>
                        <a:pt x="30" y="330"/>
                      </a:lnTo>
                      <a:lnTo>
                        <a:pt x="48" y="384"/>
                      </a:lnTo>
                      <a:lnTo>
                        <a:pt x="38" y="416"/>
                      </a:lnTo>
                      <a:lnTo>
                        <a:pt x="12" y="424"/>
                      </a:lnTo>
                      <a:lnTo>
                        <a:pt x="0" y="464"/>
                      </a:lnTo>
                      <a:lnTo>
                        <a:pt x="30" y="472"/>
                      </a:lnTo>
                      <a:lnTo>
                        <a:pt x="36" y="508"/>
                      </a:lnTo>
                      <a:lnTo>
                        <a:pt x="62" y="550"/>
                      </a:lnTo>
                      <a:lnTo>
                        <a:pt x="80" y="588"/>
                      </a:lnTo>
                      <a:lnTo>
                        <a:pt x="88" y="610"/>
                      </a:lnTo>
                      <a:lnTo>
                        <a:pt x="128" y="638"/>
                      </a:lnTo>
                      <a:lnTo>
                        <a:pt x="198" y="632"/>
                      </a:lnTo>
                      <a:lnTo>
                        <a:pt x="294" y="600"/>
                      </a:lnTo>
                      <a:lnTo>
                        <a:pt x="344" y="608"/>
                      </a:lnTo>
                      <a:lnTo>
                        <a:pt x="376" y="638"/>
                      </a:lnTo>
                      <a:lnTo>
                        <a:pt x="410" y="642"/>
                      </a:lnTo>
                      <a:lnTo>
                        <a:pt x="434" y="654"/>
                      </a:lnTo>
                      <a:lnTo>
                        <a:pt x="496" y="656"/>
                      </a:lnTo>
                      <a:lnTo>
                        <a:pt x="528" y="670"/>
                      </a:lnTo>
                      <a:lnTo>
                        <a:pt x="520" y="724"/>
                      </a:lnTo>
                      <a:lnTo>
                        <a:pt x="518" y="750"/>
                      </a:lnTo>
                      <a:lnTo>
                        <a:pt x="488" y="798"/>
                      </a:lnTo>
                      <a:lnTo>
                        <a:pt x="558" y="790"/>
                      </a:lnTo>
                      <a:lnTo>
                        <a:pt x="596" y="804"/>
                      </a:lnTo>
                      <a:lnTo>
                        <a:pt x="620" y="776"/>
                      </a:lnTo>
                      <a:lnTo>
                        <a:pt x="612" y="734"/>
                      </a:lnTo>
                      <a:lnTo>
                        <a:pt x="648" y="728"/>
                      </a:lnTo>
                      <a:lnTo>
                        <a:pt x="698" y="736"/>
                      </a:lnTo>
                      <a:lnTo>
                        <a:pt x="730" y="716"/>
                      </a:lnTo>
                      <a:lnTo>
                        <a:pt x="758" y="682"/>
                      </a:lnTo>
                      <a:lnTo>
                        <a:pt x="792" y="678"/>
                      </a:lnTo>
                      <a:lnTo>
                        <a:pt x="798" y="612"/>
                      </a:lnTo>
                      <a:lnTo>
                        <a:pt x="748" y="602"/>
                      </a:lnTo>
                      <a:lnTo>
                        <a:pt x="714" y="532"/>
                      </a:lnTo>
                      <a:lnTo>
                        <a:pt x="708" y="472"/>
                      </a:lnTo>
                      <a:lnTo>
                        <a:pt x="674" y="430"/>
                      </a:lnTo>
                      <a:lnTo>
                        <a:pt x="664" y="384"/>
                      </a:lnTo>
                      <a:lnTo>
                        <a:pt x="670" y="344"/>
                      </a:lnTo>
                      <a:lnTo>
                        <a:pt x="700" y="306"/>
                      </a:lnTo>
                      <a:lnTo>
                        <a:pt x="702" y="276"/>
                      </a:lnTo>
                      <a:lnTo>
                        <a:pt x="666" y="206"/>
                      </a:lnTo>
                      <a:lnTo>
                        <a:pt x="620" y="198"/>
                      </a:lnTo>
                      <a:lnTo>
                        <a:pt x="558" y="218"/>
                      </a:lnTo>
                      <a:lnTo>
                        <a:pt x="460" y="220"/>
                      </a:lnTo>
                      <a:lnTo>
                        <a:pt x="460" y="184"/>
                      </a:lnTo>
                      <a:lnTo>
                        <a:pt x="504" y="180"/>
                      </a:lnTo>
                      <a:lnTo>
                        <a:pt x="578" y="156"/>
                      </a:lnTo>
                      <a:lnTo>
                        <a:pt x="624" y="154"/>
                      </a:lnTo>
                      <a:lnTo>
                        <a:pt x="646" y="132"/>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6" name="Freeform 65"/>
                <p:cNvSpPr>
                  <a:spLocks/>
                </p:cNvSpPr>
                <p:nvPr/>
              </p:nvSpPr>
              <p:spPr bwMode="auto">
                <a:xfrm>
                  <a:off x="2550" y="2950"/>
                  <a:ext cx="87" cy="55"/>
                </a:xfrm>
                <a:custGeom>
                  <a:avLst/>
                  <a:gdLst>
                    <a:gd name="T0" fmla="*/ 0 w 208"/>
                    <a:gd name="T1" fmla="*/ 0 h 160"/>
                    <a:gd name="T2" fmla="*/ 0 w 208"/>
                    <a:gd name="T3" fmla="*/ 0 h 160"/>
                    <a:gd name="T4" fmla="*/ 0 w 208"/>
                    <a:gd name="T5" fmla="*/ 0 h 160"/>
                    <a:gd name="T6" fmla="*/ 0 w 208"/>
                    <a:gd name="T7" fmla="*/ 0 h 160"/>
                    <a:gd name="T8" fmla="*/ 0 w 208"/>
                    <a:gd name="T9" fmla="*/ 0 h 160"/>
                    <a:gd name="T10" fmla="*/ 0 w 208"/>
                    <a:gd name="T11" fmla="*/ 0 h 160"/>
                    <a:gd name="T12" fmla="*/ 0 w 208"/>
                    <a:gd name="T13" fmla="*/ 0 h 160"/>
                    <a:gd name="T14" fmla="*/ 0 w 208"/>
                    <a:gd name="T15" fmla="*/ 0 h 160"/>
                    <a:gd name="T16" fmla="*/ 0 w 208"/>
                    <a:gd name="T17" fmla="*/ 0 h 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8"/>
                    <a:gd name="T28" fmla="*/ 0 h 160"/>
                    <a:gd name="T29" fmla="*/ 208 w 208"/>
                    <a:gd name="T30" fmla="*/ 160 h 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8" h="160">
                      <a:moveTo>
                        <a:pt x="6" y="0"/>
                      </a:moveTo>
                      <a:lnTo>
                        <a:pt x="60" y="4"/>
                      </a:lnTo>
                      <a:lnTo>
                        <a:pt x="208" y="146"/>
                      </a:lnTo>
                      <a:lnTo>
                        <a:pt x="200" y="160"/>
                      </a:lnTo>
                      <a:lnTo>
                        <a:pt x="170" y="156"/>
                      </a:lnTo>
                      <a:lnTo>
                        <a:pt x="84" y="102"/>
                      </a:lnTo>
                      <a:lnTo>
                        <a:pt x="72" y="74"/>
                      </a:lnTo>
                      <a:lnTo>
                        <a:pt x="0" y="20"/>
                      </a:lnTo>
                      <a:lnTo>
                        <a:pt x="6"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7" name="Freeform 66"/>
                <p:cNvSpPr>
                  <a:spLocks/>
                </p:cNvSpPr>
                <p:nvPr/>
              </p:nvSpPr>
              <p:spPr bwMode="auto">
                <a:xfrm>
                  <a:off x="2684" y="3068"/>
                  <a:ext cx="19" cy="31"/>
                </a:xfrm>
                <a:custGeom>
                  <a:avLst/>
                  <a:gdLst>
                    <a:gd name="T0" fmla="*/ 0 w 46"/>
                    <a:gd name="T1" fmla="*/ 0 h 88"/>
                    <a:gd name="T2" fmla="*/ 0 w 46"/>
                    <a:gd name="T3" fmla="*/ 0 h 88"/>
                    <a:gd name="T4" fmla="*/ 0 w 46"/>
                    <a:gd name="T5" fmla="*/ 0 h 88"/>
                    <a:gd name="T6" fmla="*/ 0 w 46"/>
                    <a:gd name="T7" fmla="*/ 0 h 88"/>
                    <a:gd name="T8" fmla="*/ 0 w 46"/>
                    <a:gd name="T9" fmla="*/ 0 h 88"/>
                    <a:gd name="T10" fmla="*/ 0 w 46"/>
                    <a:gd name="T11" fmla="*/ 0 h 88"/>
                    <a:gd name="T12" fmla="*/ 0 60000 65536"/>
                    <a:gd name="T13" fmla="*/ 0 60000 65536"/>
                    <a:gd name="T14" fmla="*/ 0 60000 65536"/>
                    <a:gd name="T15" fmla="*/ 0 60000 65536"/>
                    <a:gd name="T16" fmla="*/ 0 60000 65536"/>
                    <a:gd name="T17" fmla="*/ 0 60000 65536"/>
                    <a:gd name="T18" fmla="*/ 0 w 46"/>
                    <a:gd name="T19" fmla="*/ 0 h 88"/>
                    <a:gd name="T20" fmla="*/ 46 w 46"/>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46" h="88">
                      <a:moveTo>
                        <a:pt x="32" y="88"/>
                      </a:moveTo>
                      <a:lnTo>
                        <a:pt x="0" y="40"/>
                      </a:lnTo>
                      <a:lnTo>
                        <a:pt x="12" y="0"/>
                      </a:lnTo>
                      <a:lnTo>
                        <a:pt x="36" y="40"/>
                      </a:lnTo>
                      <a:lnTo>
                        <a:pt x="46" y="70"/>
                      </a:lnTo>
                      <a:lnTo>
                        <a:pt x="32" y="8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8" name="Freeform 67"/>
                <p:cNvSpPr>
                  <a:spLocks/>
                </p:cNvSpPr>
                <p:nvPr/>
              </p:nvSpPr>
              <p:spPr bwMode="auto">
                <a:xfrm>
                  <a:off x="2426" y="3106"/>
                  <a:ext cx="378" cy="290"/>
                </a:xfrm>
                <a:custGeom>
                  <a:avLst/>
                  <a:gdLst>
                    <a:gd name="T0" fmla="*/ 0 w 906"/>
                    <a:gd name="T1" fmla="*/ 0 h 840"/>
                    <a:gd name="T2" fmla="*/ 0 w 906"/>
                    <a:gd name="T3" fmla="*/ 0 h 840"/>
                    <a:gd name="T4" fmla="*/ 0 w 906"/>
                    <a:gd name="T5" fmla="*/ 0 h 840"/>
                    <a:gd name="T6" fmla="*/ 0 w 906"/>
                    <a:gd name="T7" fmla="*/ 0 h 840"/>
                    <a:gd name="T8" fmla="*/ 0 w 906"/>
                    <a:gd name="T9" fmla="*/ 0 h 840"/>
                    <a:gd name="T10" fmla="*/ 0 w 906"/>
                    <a:gd name="T11" fmla="*/ 0 h 840"/>
                    <a:gd name="T12" fmla="*/ 0 w 906"/>
                    <a:gd name="T13" fmla="*/ 0 h 840"/>
                    <a:gd name="T14" fmla="*/ 0 w 906"/>
                    <a:gd name="T15" fmla="*/ 0 h 840"/>
                    <a:gd name="T16" fmla="*/ 0 w 906"/>
                    <a:gd name="T17" fmla="*/ 0 h 840"/>
                    <a:gd name="T18" fmla="*/ 0 w 906"/>
                    <a:gd name="T19" fmla="*/ 0 h 840"/>
                    <a:gd name="T20" fmla="*/ 0 w 906"/>
                    <a:gd name="T21" fmla="*/ 0 h 840"/>
                    <a:gd name="T22" fmla="*/ 0 w 906"/>
                    <a:gd name="T23" fmla="*/ 0 h 840"/>
                    <a:gd name="T24" fmla="*/ 0 w 906"/>
                    <a:gd name="T25" fmla="*/ 0 h 840"/>
                    <a:gd name="T26" fmla="*/ 0 w 906"/>
                    <a:gd name="T27" fmla="*/ 0 h 840"/>
                    <a:gd name="T28" fmla="*/ 0 w 906"/>
                    <a:gd name="T29" fmla="*/ 0 h 840"/>
                    <a:gd name="T30" fmla="*/ 0 w 906"/>
                    <a:gd name="T31" fmla="*/ 0 h 840"/>
                    <a:gd name="T32" fmla="*/ 0 w 906"/>
                    <a:gd name="T33" fmla="*/ 0 h 840"/>
                    <a:gd name="T34" fmla="*/ 0 w 906"/>
                    <a:gd name="T35" fmla="*/ 0 h 840"/>
                    <a:gd name="T36" fmla="*/ 0 w 906"/>
                    <a:gd name="T37" fmla="*/ 0 h 840"/>
                    <a:gd name="T38" fmla="*/ 0 w 906"/>
                    <a:gd name="T39" fmla="*/ 0 h 840"/>
                    <a:gd name="T40" fmla="*/ 0 w 906"/>
                    <a:gd name="T41" fmla="*/ 0 h 840"/>
                    <a:gd name="T42" fmla="*/ 0 w 906"/>
                    <a:gd name="T43" fmla="*/ 0 h 840"/>
                    <a:gd name="T44" fmla="*/ 0 w 906"/>
                    <a:gd name="T45" fmla="*/ 0 h 840"/>
                    <a:gd name="T46" fmla="*/ 0 w 906"/>
                    <a:gd name="T47" fmla="*/ 0 h 840"/>
                    <a:gd name="T48" fmla="*/ 0 w 906"/>
                    <a:gd name="T49" fmla="*/ 0 h 840"/>
                    <a:gd name="T50" fmla="*/ 0 w 906"/>
                    <a:gd name="T51" fmla="*/ 0 h 840"/>
                    <a:gd name="T52" fmla="*/ 0 w 906"/>
                    <a:gd name="T53" fmla="*/ 0 h 840"/>
                    <a:gd name="T54" fmla="*/ 0 w 906"/>
                    <a:gd name="T55" fmla="*/ 0 h 840"/>
                    <a:gd name="T56" fmla="*/ 0 w 906"/>
                    <a:gd name="T57" fmla="*/ 0 h 840"/>
                    <a:gd name="T58" fmla="*/ 0 w 906"/>
                    <a:gd name="T59" fmla="*/ 0 h 840"/>
                    <a:gd name="T60" fmla="*/ 0 w 906"/>
                    <a:gd name="T61" fmla="*/ 0 h 840"/>
                    <a:gd name="T62" fmla="*/ 0 w 906"/>
                    <a:gd name="T63" fmla="*/ 0 h 840"/>
                    <a:gd name="T64" fmla="*/ 0 w 906"/>
                    <a:gd name="T65" fmla="*/ 0 h 840"/>
                    <a:gd name="T66" fmla="*/ 0 w 906"/>
                    <a:gd name="T67" fmla="*/ 0 h 840"/>
                    <a:gd name="T68" fmla="*/ 0 w 906"/>
                    <a:gd name="T69" fmla="*/ 0 h 840"/>
                    <a:gd name="T70" fmla="*/ 0 w 906"/>
                    <a:gd name="T71" fmla="*/ 0 h 840"/>
                    <a:gd name="T72" fmla="*/ 0 w 906"/>
                    <a:gd name="T73" fmla="*/ 0 h 840"/>
                    <a:gd name="T74" fmla="*/ 0 w 906"/>
                    <a:gd name="T75" fmla="*/ 0 h 840"/>
                    <a:gd name="T76" fmla="*/ 0 w 906"/>
                    <a:gd name="T77" fmla="*/ 0 h 8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06"/>
                    <a:gd name="T118" fmla="*/ 0 h 840"/>
                    <a:gd name="T119" fmla="*/ 906 w 906"/>
                    <a:gd name="T120" fmla="*/ 840 h 8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06" h="840">
                      <a:moveTo>
                        <a:pt x="516" y="840"/>
                      </a:moveTo>
                      <a:lnTo>
                        <a:pt x="538" y="816"/>
                      </a:lnTo>
                      <a:lnTo>
                        <a:pt x="574" y="814"/>
                      </a:lnTo>
                      <a:lnTo>
                        <a:pt x="628" y="836"/>
                      </a:lnTo>
                      <a:lnTo>
                        <a:pt x="658" y="814"/>
                      </a:lnTo>
                      <a:lnTo>
                        <a:pt x="706" y="784"/>
                      </a:lnTo>
                      <a:lnTo>
                        <a:pt x="722" y="822"/>
                      </a:lnTo>
                      <a:lnTo>
                        <a:pt x="758" y="832"/>
                      </a:lnTo>
                      <a:lnTo>
                        <a:pt x="794" y="802"/>
                      </a:lnTo>
                      <a:lnTo>
                        <a:pt x="820" y="748"/>
                      </a:lnTo>
                      <a:lnTo>
                        <a:pt x="846" y="732"/>
                      </a:lnTo>
                      <a:lnTo>
                        <a:pt x="846" y="692"/>
                      </a:lnTo>
                      <a:lnTo>
                        <a:pt x="830" y="688"/>
                      </a:lnTo>
                      <a:lnTo>
                        <a:pt x="852" y="652"/>
                      </a:lnTo>
                      <a:lnTo>
                        <a:pt x="814" y="638"/>
                      </a:lnTo>
                      <a:lnTo>
                        <a:pt x="796" y="654"/>
                      </a:lnTo>
                      <a:lnTo>
                        <a:pt x="714" y="632"/>
                      </a:lnTo>
                      <a:lnTo>
                        <a:pt x="712" y="594"/>
                      </a:lnTo>
                      <a:lnTo>
                        <a:pt x="760" y="568"/>
                      </a:lnTo>
                      <a:lnTo>
                        <a:pt x="816" y="594"/>
                      </a:lnTo>
                      <a:lnTo>
                        <a:pt x="906" y="580"/>
                      </a:lnTo>
                      <a:lnTo>
                        <a:pt x="870" y="506"/>
                      </a:lnTo>
                      <a:lnTo>
                        <a:pt x="832" y="484"/>
                      </a:lnTo>
                      <a:lnTo>
                        <a:pt x="776" y="376"/>
                      </a:lnTo>
                      <a:lnTo>
                        <a:pt x="770" y="340"/>
                      </a:lnTo>
                      <a:lnTo>
                        <a:pt x="734" y="336"/>
                      </a:lnTo>
                      <a:lnTo>
                        <a:pt x="754" y="292"/>
                      </a:lnTo>
                      <a:lnTo>
                        <a:pt x="774" y="286"/>
                      </a:lnTo>
                      <a:lnTo>
                        <a:pt x="784" y="256"/>
                      </a:lnTo>
                      <a:lnTo>
                        <a:pt x="766" y="200"/>
                      </a:lnTo>
                      <a:lnTo>
                        <a:pt x="816" y="110"/>
                      </a:lnTo>
                      <a:lnTo>
                        <a:pt x="812" y="52"/>
                      </a:lnTo>
                      <a:lnTo>
                        <a:pt x="774" y="54"/>
                      </a:lnTo>
                      <a:lnTo>
                        <a:pt x="766" y="24"/>
                      </a:lnTo>
                      <a:lnTo>
                        <a:pt x="716" y="0"/>
                      </a:lnTo>
                      <a:lnTo>
                        <a:pt x="650" y="14"/>
                      </a:lnTo>
                      <a:lnTo>
                        <a:pt x="624" y="60"/>
                      </a:lnTo>
                      <a:lnTo>
                        <a:pt x="598" y="72"/>
                      </a:lnTo>
                      <a:lnTo>
                        <a:pt x="524" y="40"/>
                      </a:lnTo>
                      <a:lnTo>
                        <a:pt x="514" y="76"/>
                      </a:lnTo>
                      <a:lnTo>
                        <a:pt x="464" y="42"/>
                      </a:lnTo>
                      <a:lnTo>
                        <a:pt x="470" y="12"/>
                      </a:lnTo>
                      <a:lnTo>
                        <a:pt x="414" y="10"/>
                      </a:lnTo>
                      <a:lnTo>
                        <a:pt x="372" y="28"/>
                      </a:lnTo>
                      <a:lnTo>
                        <a:pt x="340" y="62"/>
                      </a:lnTo>
                      <a:lnTo>
                        <a:pt x="224" y="80"/>
                      </a:lnTo>
                      <a:lnTo>
                        <a:pt x="190" y="48"/>
                      </a:lnTo>
                      <a:lnTo>
                        <a:pt x="130" y="34"/>
                      </a:lnTo>
                      <a:lnTo>
                        <a:pt x="32" y="52"/>
                      </a:lnTo>
                      <a:lnTo>
                        <a:pt x="2" y="52"/>
                      </a:lnTo>
                      <a:lnTo>
                        <a:pt x="0" y="76"/>
                      </a:lnTo>
                      <a:lnTo>
                        <a:pt x="28" y="98"/>
                      </a:lnTo>
                      <a:lnTo>
                        <a:pt x="90" y="100"/>
                      </a:lnTo>
                      <a:lnTo>
                        <a:pt x="188" y="118"/>
                      </a:lnTo>
                      <a:lnTo>
                        <a:pt x="262" y="202"/>
                      </a:lnTo>
                      <a:lnTo>
                        <a:pt x="274" y="248"/>
                      </a:lnTo>
                      <a:lnTo>
                        <a:pt x="328" y="252"/>
                      </a:lnTo>
                      <a:lnTo>
                        <a:pt x="328" y="288"/>
                      </a:lnTo>
                      <a:lnTo>
                        <a:pt x="178" y="258"/>
                      </a:lnTo>
                      <a:lnTo>
                        <a:pt x="82" y="252"/>
                      </a:lnTo>
                      <a:lnTo>
                        <a:pt x="82" y="266"/>
                      </a:lnTo>
                      <a:lnTo>
                        <a:pt x="134" y="298"/>
                      </a:lnTo>
                      <a:lnTo>
                        <a:pt x="244" y="314"/>
                      </a:lnTo>
                      <a:lnTo>
                        <a:pt x="306" y="360"/>
                      </a:lnTo>
                      <a:lnTo>
                        <a:pt x="398" y="420"/>
                      </a:lnTo>
                      <a:lnTo>
                        <a:pt x="454" y="588"/>
                      </a:lnTo>
                      <a:lnTo>
                        <a:pt x="438" y="618"/>
                      </a:lnTo>
                      <a:lnTo>
                        <a:pt x="390" y="620"/>
                      </a:lnTo>
                      <a:lnTo>
                        <a:pt x="320" y="652"/>
                      </a:lnTo>
                      <a:lnTo>
                        <a:pt x="318" y="694"/>
                      </a:lnTo>
                      <a:lnTo>
                        <a:pt x="372" y="696"/>
                      </a:lnTo>
                      <a:lnTo>
                        <a:pt x="390" y="680"/>
                      </a:lnTo>
                      <a:lnTo>
                        <a:pt x="390" y="654"/>
                      </a:lnTo>
                      <a:lnTo>
                        <a:pt x="410" y="658"/>
                      </a:lnTo>
                      <a:lnTo>
                        <a:pt x="432" y="708"/>
                      </a:lnTo>
                      <a:lnTo>
                        <a:pt x="470" y="744"/>
                      </a:lnTo>
                      <a:lnTo>
                        <a:pt x="482" y="828"/>
                      </a:lnTo>
                      <a:lnTo>
                        <a:pt x="516" y="84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9" name="Freeform 68"/>
                <p:cNvSpPr>
                  <a:spLocks/>
                </p:cNvSpPr>
                <p:nvPr/>
              </p:nvSpPr>
              <p:spPr bwMode="auto">
                <a:xfrm>
                  <a:off x="2621" y="3591"/>
                  <a:ext cx="40" cy="79"/>
                </a:xfrm>
                <a:custGeom>
                  <a:avLst/>
                  <a:gdLst>
                    <a:gd name="T0" fmla="*/ 0 w 96"/>
                    <a:gd name="T1" fmla="*/ 0 h 228"/>
                    <a:gd name="T2" fmla="*/ 0 w 96"/>
                    <a:gd name="T3" fmla="*/ 0 h 228"/>
                    <a:gd name="T4" fmla="*/ 0 w 96"/>
                    <a:gd name="T5" fmla="*/ 0 h 228"/>
                    <a:gd name="T6" fmla="*/ 0 w 96"/>
                    <a:gd name="T7" fmla="*/ 0 h 228"/>
                    <a:gd name="T8" fmla="*/ 0 w 96"/>
                    <a:gd name="T9" fmla="*/ 0 h 228"/>
                    <a:gd name="T10" fmla="*/ 0 w 96"/>
                    <a:gd name="T11" fmla="*/ 0 h 228"/>
                    <a:gd name="T12" fmla="*/ 0 w 96"/>
                    <a:gd name="T13" fmla="*/ 0 h 228"/>
                    <a:gd name="T14" fmla="*/ 0 w 96"/>
                    <a:gd name="T15" fmla="*/ 0 h 228"/>
                    <a:gd name="T16" fmla="*/ 0 w 96"/>
                    <a:gd name="T17" fmla="*/ 0 h 228"/>
                    <a:gd name="T18" fmla="*/ 0 w 96"/>
                    <a:gd name="T19" fmla="*/ 0 h 228"/>
                    <a:gd name="T20" fmla="*/ 0 w 96"/>
                    <a:gd name="T21" fmla="*/ 0 h 228"/>
                    <a:gd name="T22" fmla="*/ 0 w 96"/>
                    <a:gd name="T23" fmla="*/ 0 h 228"/>
                    <a:gd name="T24" fmla="*/ 0 w 96"/>
                    <a:gd name="T25" fmla="*/ 0 h 228"/>
                    <a:gd name="T26" fmla="*/ 0 w 96"/>
                    <a:gd name="T27" fmla="*/ 0 h 228"/>
                    <a:gd name="T28" fmla="*/ 0 w 96"/>
                    <a:gd name="T29" fmla="*/ 0 h 2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6"/>
                    <a:gd name="T46" fmla="*/ 0 h 228"/>
                    <a:gd name="T47" fmla="*/ 96 w 96"/>
                    <a:gd name="T48" fmla="*/ 228 h 2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6" h="228">
                      <a:moveTo>
                        <a:pt x="20" y="0"/>
                      </a:moveTo>
                      <a:lnTo>
                        <a:pt x="18" y="40"/>
                      </a:lnTo>
                      <a:lnTo>
                        <a:pt x="18" y="60"/>
                      </a:lnTo>
                      <a:lnTo>
                        <a:pt x="0" y="114"/>
                      </a:lnTo>
                      <a:lnTo>
                        <a:pt x="6" y="152"/>
                      </a:lnTo>
                      <a:lnTo>
                        <a:pt x="44" y="190"/>
                      </a:lnTo>
                      <a:lnTo>
                        <a:pt x="96" y="228"/>
                      </a:lnTo>
                      <a:lnTo>
                        <a:pt x="96" y="172"/>
                      </a:lnTo>
                      <a:lnTo>
                        <a:pt x="74" y="172"/>
                      </a:lnTo>
                      <a:lnTo>
                        <a:pt x="48" y="150"/>
                      </a:lnTo>
                      <a:lnTo>
                        <a:pt x="72" y="132"/>
                      </a:lnTo>
                      <a:lnTo>
                        <a:pt x="62" y="84"/>
                      </a:lnTo>
                      <a:lnTo>
                        <a:pt x="52" y="62"/>
                      </a:lnTo>
                      <a:lnTo>
                        <a:pt x="48" y="34"/>
                      </a:lnTo>
                      <a:lnTo>
                        <a:pt x="20" y="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0" name="Freeform 69"/>
                <p:cNvSpPr>
                  <a:spLocks/>
                </p:cNvSpPr>
                <p:nvPr/>
              </p:nvSpPr>
              <p:spPr bwMode="auto">
                <a:xfrm>
                  <a:off x="2605" y="3671"/>
                  <a:ext cx="33" cy="38"/>
                </a:xfrm>
                <a:custGeom>
                  <a:avLst/>
                  <a:gdLst>
                    <a:gd name="T0" fmla="*/ 0 w 78"/>
                    <a:gd name="T1" fmla="*/ 0 h 108"/>
                    <a:gd name="T2" fmla="*/ 0 w 78"/>
                    <a:gd name="T3" fmla="*/ 0 h 108"/>
                    <a:gd name="T4" fmla="*/ 0 w 78"/>
                    <a:gd name="T5" fmla="*/ 0 h 108"/>
                    <a:gd name="T6" fmla="*/ 0 w 78"/>
                    <a:gd name="T7" fmla="*/ 0 h 108"/>
                    <a:gd name="T8" fmla="*/ 0 w 78"/>
                    <a:gd name="T9" fmla="*/ 0 h 108"/>
                    <a:gd name="T10" fmla="*/ 0 w 78"/>
                    <a:gd name="T11" fmla="*/ 0 h 108"/>
                    <a:gd name="T12" fmla="*/ 0 w 78"/>
                    <a:gd name="T13" fmla="*/ 0 h 108"/>
                    <a:gd name="T14" fmla="*/ 0 w 78"/>
                    <a:gd name="T15" fmla="*/ 0 h 108"/>
                    <a:gd name="T16" fmla="*/ 0 w 78"/>
                    <a:gd name="T17" fmla="*/ 0 h 108"/>
                    <a:gd name="T18" fmla="*/ 0 w 78"/>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
                    <a:gd name="T31" fmla="*/ 0 h 108"/>
                    <a:gd name="T32" fmla="*/ 78 w 78"/>
                    <a:gd name="T33" fmla="*/ 108 h 1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 h="108">
                      <a:moveTo>
                        <a:pt x="28" y="108"/>
                      </a:moveTo>
                      <a:lnTo>
                        <a:pt x="44" y="62"/>
                      </a:lnTo>
                      <a:lnTo>
                        <a:pt x="34" y="48"/>
                      </a:lnTo>
                      <a:lnTo>
                        <a:pt x="70" y="38"/>
                      </a:lnTo>
                      <a:lnTo>
                        <a:pt x="78" y="12"/>
                      </a:lnTo>
                      <a:lnTo>
                        <a:pt x="54" y="0"/>
                      </a:lnTo>
                      <a:lnTo>
                        <a:pt x="16" y="12"/>
                      </a:lnTo>
                      <a:lnTo>
                        <a:pt x="0" y="64"/>
                      </a:lnTo>
                      <a:lnTo>
                        <a:pt x="10" y="88"/>
                      </a:lnTo>
                      <a:lnTo>
                        <a:pt x="28" y="108"/>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1" name="Freeform 70"/>
                <p:cNvSpPr>
                  <a:spLocks/>
                </p:cNvSpPr>
                <p:nvPr/>
              </p:nvSpPr>
              <p:spPr bwMode="auto">
                <a:xfrm>
                  <a:off x="2776" y="3637"/>
                  <a:ext cx="46" cy="18"/>
                </a:xfrm>
                <a:custGeom>
                  <a:avLst/>
                  <a:gdLst>
                    <a:gd name="T0" fmla="*/ 0 w 110"/>
                    <a:gd name="T1" fmla="*/ 0 h 52"/>
                    <a:gd name="T2" fmla="*/ 0 w 110"/>
                    <a:gd name="T3" fmla="*/ 0 h 52"/>
                    <a:gd name="T4" fmla="*/ 0 w 110"/>
                    <a:gd name="T5" fmla="*/ 0 h 52"/>
                    <a:gd name="T6" fmla="*/ 0 w 110"/>
                    <a:gd name="T7" fmla="*/ 0 h 52"/>
                    <a:gd name="T8" fmla="*/ 0 w 110"/>
                    <a:gd name="T9" fmla="*/ 0 h 52"/>
                    <a:gd name="T10" fmla="*/ 0 w 110"/>
                    <a:gd name="T11" fmla="*/ 0 h 52"/>
                    <a:gd name="T12" fmla="*/ 0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110" y="50"/>
                      </a:moveTo>
                      <a:lnTo>
                        <a:pt x="90" y="14"/>
                      </a:lnTo>
                      <a:lnTo>
                        <a:pt x="40" y="0"/>
                      </a:lnTo>
                      <a:lnTo>
                        <a:pt x="26" y="36"/>
                      </a:lnTo>
                      <a:lnTo>
                        <a:pt x="0" y="46"/>
                      </a:lnTo>
                      <a:lnTo>
                        <a:pt x="48" y="52"/>
                      </a:lnTo>
                      <a:lnTo>
                        <a:pt x="110" y="5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2" name="Freeform 71"/>
                <p:cNvSpPr>
                  <a:spLocks/>
                </p:cNvSpPr>
                <p:nvPr/>
              </p:nvSpPr>
              <p:spPr bwMode="auto">
                <a:xfrm>
                  <a:off x="2572" y="3350"/>
                  <a:ext cx="279" cy="306"/>
                </a:xfrm>
                <a:custGeom>
                  <a:avLst/>
                  <a:gdLst>
                    <a:gd name="T0" fmla="*/ 0 w 670"/>
                    <a:gd name="T1" fmla="*/ 0 h 886"/>
                    <a:gd name="T2" fmla="*/ 0 w 670"/>
                    <a:gd name="T3" fmla="*/ 0 h 886"/>
                    <a:gd name="T4" fmla="*/ 0 w 670"/>
                    <a:gd name="T5" fmla="*/ 0 h 886"/>
                    <a:gd name="T6" fmla="*/ 0 w 670"/>
                    <a:gd name="T7" fmla="*/ 0 h 886"/>
                    <a:gd name="T8" fmla="*/ 0 w 670"/>
                    <a:gd name="T9" fmla="*/ 0 h 886"/>
                    <a:gd name="T10" fmla="*/ 0 w 670"/>
                    <a:gd name="T11" fmla="*/ 0 h 886"/>
                    <a:gd name="T12" fmla="*/ 0 w 670"/>
                    <a:gd name="T13" fmla="*/ 0 h 886"/>
                    <a:gd name="T14" fmla="*/ 0 w 670"/>
                    <a:gd name="T15" fmla="*/ 0 h 886"/>
                    <a:gd name="T16" fmla="*/ 0 w 670"/>
                    <a:gd name="T17" fmla="*/ 0 h 886"/>
                    <a:gd name="T18" fmla="*/ 0 w 670"/>
                    <a:gd name="T19" fmla="*/ 0 h 886"/>
                    <a:gd name="T20" fmla="*/ 0 w 670"/>
                    <a:gd name="T21" fmla="*/ 0 h 886"/>
                    <a:gd name="T22" fmla="*/ 0 w 670"/>
                    <a:gd name="T23" fmla="*/ 0 h 886"/>
                    <a:gd name="T24" fmla="*/ 0 w 670"/>
                    <a:gd name="T25" fmla="*/ 0 h 886"/>
                    <a:gd name="T26" fmla="*/ 0 w 670"/>
                    <a:gd name="T27" fmla="*/ 0 h 886"/>
                    <a:gd name="T28" fmla="*/ 0 w 670"/>
                    <a:gd name="T29" fmla="*/ 0 h 886"/>
                    <a:gd name="T30" fmla="*/ 0 w 670"/>
                    <a:gd name="T31" fmla="*/ 0 h 886"/>
                    <a:gd name="T32" fmla="*/ 0 w 670"/>
                    <a:gd name="T33" fmla="*/ 0 h 886"/>
                    <a:gd name="T34" fmla="*/ 0 w 670"/>
                    <a:gd name="T35" fmla="*/ 0 h 886"/>
                    <a:gd name="T36" fmla="*/ 0 w 670"/>
                    <a:gd name="T37" fmla="*/ 0 h 886"/>
                    <a:gd name="T38" fmla="*/ 0 w 670"/>
                    <a:gd name="T39" fmla="*/ 0 h 886"/>
                    <a:gd name="T40" fmla="*/ 0 w 670"/>
                    <a:gd name="T41" fmla="*/ 0 h 886"/>
                    <a:gd name="T42" fmla="*/ 0 w 670"/>
                    <a:gd name="T43" fmla="*/ 0 h 886"/>
                    <a:gd name="T44" fmla="*/ 0 w 670"/>
                    <a:gd name="T45" fmla="*/ 0 h 886"/>
                    <a:gd name="T46" fmla="*/ 0 w 670"/>
                    <a:gd name="T47" fmla="*/ 0 h 886"/>
                    <a:gd name="T48" fmla="*/ 0 w 670"/>
                    <a:gd name="T49" fmla="*/ 0 h 886"/>
                    <a:gd name="T50" fmla="*/ 0 w 670"/>
                    <a:gd name="T51" fmla="*/ 0 h 886"/>
                    <a:gd name="T52" fmla="*/ 0 w 670"/>
                    <a:gd name="T53" fmla="*/ 0 h 886"/>
                    <a:gd name="T54" fmla="*/ 0 w 670"/>
                    <a:gd name="T55" fmla="*/ 0 h 886"/>
                    <a:gd name="T56" fmla="*/ 0 w 670"/>
                    <a:gd name="T57" fmla="*/ 0 h 886"/>
                    <a:gd name="T58" fmla="*/ 0 w 670"/>
                    <a:gd name="T59" fmla="*/ 0 h 886"/>
                    <a:gd name="T60" fmla="*/ 0 w 670"/>
                    <a:gd name="T61" fmla="*/ 0 h 886"/>
                    <a:gd name="T62" fmla="*/ 0 w 670"/>
                    <a:gd name="T63" fmla="*/ 0 h 886"/>
                    <a:gd name="T64" fmla="*/ 0 w 670"/>
                    <a:gd name="T65" fmla="*/ 0 h 886"/>
                    <a:gd name="T66" fmla="*/ 0 w 670"/>
                    <a:gd name="T67" fmla="*/ 0 h 886"/>
                    <a:gd name="T68" fmla="*/ 0 w 670"/>
                    <a:gd name="T69" fmla="*/ 0 h 886"/>
                    <a:gd name="T70" fmla="*/ 0 w 670"/>
                    <a:gd name="T71" fmla="*/ 0 h 886"/>
                    <a:gd name="T72" fmla="*/ 0 w 670"/>
                    <a:gd name="T73" fmla="*/ 0 h 886"/>
                    <a:gd name="T74" fmla="*/ 0 w 670"/>
                    <a:gd name="T75" fmla="*/ 0 h 886"/>
                    <a:gd name="T76" fmla="*/ 0 w 670"/>
                    <a:gd name="T77" fmla="*/ 0 h 886"/>
                    <a:gd name="T78" fmla="*/ 0 w 670"/>
                    <a:gd name="T79" fmla="*/ 0 h 886"/>
                    <a:gd name="T80" fmla="*/ 0 w 670"/>
                    <a:gd name="T81" fmla="*/ 0 h 8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70"/>
                    <a:gd name="T124" fmla="*/ 0 h 886"/>
                    <a:gd name="T125" fmla="*/ 670 w 670"/>
                    <a:gd name="T126" fmla="*/ 886 h 8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70" h="886">
                      <a:moveTo>
                        <a:pt x="670" y="860"/>
                      </a:moveTo>
                      <a:lnTo>
                        <a:pt x="646" y="778"/>
                      </a:lnTo>
                      <a:lnTo>
                        <a:pt x="630" y="692"/>
                      </a:lnTo>
                      <a:lnTo>
                        <a:pt x="614" y="688"/>
                      </a:lnTo>
                      <a:lnTo>
                        <a:pt x="586" y="618"/>
                      </a:lnTo>
                      <a:lnTo>
                        <a:pt x="554" y="614"/>
                      </a:lnTo>
                      <a:lnTo>
                        <a:pt x="540" y="598"/>
                      </a:lnTo>
                      <a:lnTo>
                        <a:pt x="586" y="548"/>
                      </a:lnTo>
                      <a:lnTo>
                        <a:pt x="594" y="498"/>
                      </a:lnTo>
                      <a:lnTo>
                        <a:pt x="628" y="462"/>
                      </a:lnTo>
                      <a:lnTo>
                        <a:pt x="656" y="422"/>
                      </a:lnTo>
                      <a:lnTo>
                        <a:pt x="670" y="380"/>
                      </a:lnTo>
                      <a:lnTo>
                        <a:pt x="624" y="356"/>
                      </a:lnTo>
                      <a:lnTo>
                        <a:pt x="606" y="324"/>
                      </a:lnTo>
                      <a:lnTo>
                        <a:pt x="576" y="310"/>
                      </a:lnTo>
                      <a:lnTo>
                        <a:pt x="604" y="284"/>
                      </a:lnTo>
                      <a:lnTo>
                        <a:pt x="622" y="298"/>
                      </a:lnTo>
                      <a:lnTo>
                        <a:pt x="646" y="290"/>
                      </a:lnTo>
                      <a:lnTo>
                        <a:pt x="646" y="208"/>
                      </a:lnTo>
                      <a:lnTo>
                        <a:pt x="652" y="176"/>
                      </a:lnTo>
                      <a:lnTo>
                        <a:pt x="638" y="130"/>
                      </a:lnTo>
                      <a:lnTo>
                        <a:pt x="608" y="112"/>
                      </a:lnTo>
                      <a:lnTo>
                        <a:pt x="568" y="84"/>
                      </a:lnTo>
                      <a:lnTo>
                        <a:pt x="594" y="56"/>
                      </a:lnTo>
                      <a:lnTo>
                        <a:pt x="596" y="32"/>
                      </a:lnTo>
                      <a:lnTo>
                        <a:pt x="588" y="14"/>
                      </a:lnTo>
                      <a:lnTo>
                        <a:pt x="572" y="6"/>
                      </a:lnTo>
                      <a:lnTo>
                        <a:pt x="552" y="0"/>
                      </a:lnTo>
                      <a:lnTo>
                        <a:pt x="524" y="12"/>
                      </a:lnTo>
                      <a:lnTo>
                        <a:pt x="496" y="24"/>
                      </a:lnTo>
                      <a:lnTo>
                        <a:pt x="470" y="38"/>
                      </a:lnTo>
                      <a:lnTo>
                        <a:pt x="446" y="88"/>
                      </a:lnTo>
                      <a:lnTo>
                        <a:pt x="410" y="124"/>
                      </a:lnTo>
                      <a:lnTo>
                        <a:pt x="372" y="116"/>
                      </a:lnTo>
                      <a:lnTo>
                        <a:pt x="358" y="80"/>
                      </a:lnTo>
                      <a:lnTo>
                        <a:pt x="276" y="126"/>
                      </a:lnTo>
                      <a:lnTo>
                        <a:pt x="230" y="112"/>
                      </a:lnTo>
                      <a:lnTo>
                        <a:pt x="194" y="110"/>
                      </a:lnTo>
                      <a:lnTo>
                        <a:pt x="162" y="132"/>
                      </a:lnTo>
                      <a:lnTo>
                        <a:pt x="170" y="202"/>
                      </a:lnTo>
                      <a:lnTo>
                        <a:pt x="160" y="258"/>
                      </a:lnTo>
                      <a:lnTo>
                        <a:pt x="192" y="292"/>
                      </a:lnTo>
                      <a:lnTo>
                        <a:pt x="184" y="340"/>
                      </a:lnTo>
                      <a:lnTo>
                        <a:pt x="126" y="356"/>
                      </a:lnTo>
                      <a:lnTo>
                        <a:pt x="76" y="394"/>
                      </a:lnTo>
                      <a:lnTo>
                        <a:pt x="26" y="390"/>
                      </a:lnTo>
                      <a:lnTo>
                        <a:pt x="0" y="418"/>
                      </a:lnTo>
                      <a:lnTo>
                        <a:pt x="4" y="452"/>
                      </a:lnTo>
                      <a:lnTo>
                        <a:pt x="76" y="484"/>
                      </a:lnTo>
                      <a:lnTo>
                        <a:pt x="108" y="466"/>
                      </a:lnTo>
                      <a:lnTo>
                        <a:pt x="116" y="436"/>
                      </a:lnTo>
                      <a:lnTo>
                        <a:pt x="138" y="434"/>
                      </a:lnTo>
                      <a:lnTo>
                        <a:pt x="162" y="444"/>
                      </a:lnTo>
                      <a:lnTo>
                        <a:pt x="184" y="460"/>
                      </a:lnTo>
                      <a:lnTo>
                        <a:pt x="170" y="502"/>
                      </a:lnTo>
                      <a:lnTo>
                        <a:pt x="90" y="504"/>
                      </a:lnTo>
                      <a:lnTo>
                        <a:pt x="74" y="518"/>
                      </a:lnTo>
                      <a:lnTo>
                        <a:pt x="146" y="576"/>
                      </a:lnTo>
                      <a:lnTo>
                        <a:pt x="182" y="590"/>
                      </a:lnTo>
                      <a:lnTo>
                        <a:pt x="212" y="608"/>
                      </a:lnTo>
                      <a:lnTo>
                        <a:pt x="234" y="634"/>
                      </a:lnTo>
                      <a:lnTo>
                        <a:pt x="240" y="678"/>
                      </a:lnTo>
                      <a:lnTo>
                        <a:pt x="240" y="712"/>
                      </a:lnTo>
                      <a:lnTo>
                        <a:pt x="270" y="728"/>
                      </a:lnTo>
                      <a:lnTo>
                        <a:pt x="304" y="728"/>
                      </a:lnTo>
                      <a:lnTo>
                        <a:pt x="306" y="756"/>
                      </a:lnTo>
                      <a:lnTo>
                        <a:pt x="252" y="746"/>
                      </a:lnTo>
                      <a:lnTo>
                        <a:pt x="234" y="752"/>
                      </a:lnTo>
                      <a:lnTo>
                        <a:pt x="252" y="794"/>
                      </a:lnTo>
                      <a:lnTo>
                        <a:pt x="246" y="824"/>
                      </a:lnTo>
                      <a:lnTo>
                        <a:pt x="260" y="860"/>
                      </a:lnTo>
                      <a:lnTo>
                        <a:pt x="366" y="886"/>
                      </a:lnTo>
                      <a:lnTo>
                        <a:pt x="384" y="878"/>
                      </a:lnTo>
                      <a:lnTo>
                        <a:pt x="362" y="854"/>
                      </a:lnTo>
                      <a:lnTo>
                        <a:pt x="378" y="840"/>
                      </a:lnTo>
                      <a:lnTo>
                        <a:pt x="392" y="852"/>
                      </a:lnTo>
                      <a:lnTo>
                        <a:pt x="426" y="842"/>
                      </a:lnTo>
                      <a:lnTo>
                        <a:pt x="450" y="862"/>
                      </a:lnTo>
                      <a:lnTo>
                        <a:pt x="508" y="822"/>
                      </a:lnTo>
                      <a:lnTo>
                        <a:pt x="568" y="816"/>
                      </a:lnTo>
                      <a:lnTo>
                        <a:pt x="616" y="846"/>
                      </a:lnTo>
                      <a:lnTo>
                        <a:pt x="614" y="868"/>
                      </a:lnTo>
                      <a:lnTo>
                        <a:pt x="670" y="86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43" name="Freeform 72"/>
                <p:cNvSpPr>
                  <a:spLocks/>
                </p:cNvSpPr>
                <p:nvPr/>
              </p:nvSpPr>
              <p:spPr bwMode="auto">
                <a:xfrm>
                  <a:off x="2725" y="3270"/>
                  <a:ext cx="248" cy="210"/>
                </a:xfrm>
                <a:custGeom>
                  <a:avLst/>
                  <a:gdLst>
                    <a:gd name="T0" fmla="*/ 0 w 596"/>
                    <a:gd name="T1" fmla="*/ 0 h 610"/>
                    <a:gd name="T2" fmla="*/ 0 w 596"/>
                    <a:gd name="T3" fmla="*/ 0 h 610"/>
                    <a:gd name="T4" fmla="*/ 0 w 596"/>
                    <a:gd name="T5" fmla="*/ 0 h 610"/>
                    <a:gd name="T6" fmla="*/ 0 w 596"/>
                    <a:gd name="T7" fmla="*/ 0 h 610"/>
                    <a:gd name="T8" fmla="*/ 0 w 596"/>
                    <a:gd name="T9" fmla="*/ 0 h 610"/>
                    <a:gd name="T10" fmla="*/ 0 w 596"/>
                    <a:gd name="T11" fmla="*/ 0 h 610"/>
                    <a:gd name="T12" fmla="*/ 0 w 596"/>
                    <a:gd name="T13" fmla="*/ 0 h 610"/>
                    <a:gd name="T14" fmla="*/ 0 w 596"/>
                    <a:gd name="T15" fmla="*/ 0 h 610"/>
                    <a:gd name="T16" fmla="*/ 0 w 596"/>
                    <a:gd name="T17" fmla="*/ 0 h 610"/>
                    <a:gd name="T18" fmla="*/ 0 w 596"/>
                    <a:gd name="T19" fmla="*/ 0 h 610"/>
                    <a:gd name="T20" fmla="*/ 0 w 596"/>
                    <a:gd name="T21" fmla="*/ 0 h 610"/>
                    <a:gd name="T22" fmla="*/ 0 w 596"/>
                    <a:gd name="T23" fmla="*/ 0 h 610"/>
                    <a:gd name="T24" fmla="*/ 0 w 596"/>
                    <a:gd name="T25" fmla="*/ 0 h 610"/>
                    <a:gd name="T26" fmla="*/ 0 w 596"/>
                    <a:gd name="T27" fmla="*/ 0 h 610"/>
                    <a:gd name="T28" fmla="*/ 0 w 596"/>
                    <a:gd name="T29" fmla="*/ 0 h 610"/>
                    <a:gd name="T30" fmla="*/ 0 w 596"/>
                    <a:gd name="T31" fmla="*/ 0 h 610"/>
                    <a:gd name="T32" fmla="*/ 0 w 596"/>
                    <a:gd name="T33" fmla="*/ 0 h 610"/>
                    <a:gd name="T34" fmla="*/ 0 w 596"/>
                    <a:gd name="T35" fmla="*/ 0 h 610"/>
                    <a:gd name="T36" fmla="*/ 0 w 596"/>
                    <a:gd name="T37" fmla="*/ 0 h 610"/>
                    <a:gd name="T38" fmla="*/ 0 w 596"/>
                    <a:gd name="T39" fmla="*/ 0 h 610"/>
                    <a:gd name="T40" fmla="*/ 0 w 596"/>
                    <a:gd name="T41" fmla="*/ 0 h 610"/>
                    <a:gd name="T42" fmla="*/ 0 w 596"/>
                    <a:gd name="T43" fmla="*/ 0 h 610"/>
                    <a:gd name="T44" fmla="*/ 0 w 596"/>
                    <a:gd name="T45" fmla="*/ 0 h 610"/>
                    <a:gd name="T46" fmla="*/ 0 w 596"/>
                    <a:gd name="T47" fmla="*/ 0 h 610"/>
                    <a:gd name="T48" fmla="*/ 0 w 596"/>
                    <a:gd name="T49" fmla="*/ 0 h 610"/>
                    <a:gd name="T50" fmla="*/ 0 w 596"/>
                    <a:gd name="T51" fmla="*/ 0 h 610"/>
                    <a:gd name="T52" fmla="*/ 0 w 596"/>
                    <a:gd name="T53" fmla="*/ 0 h 610"/>
                    <a:gd name="T54" fmla="*/ 0 w 596"/>
                    <a:gd name="T55" fmla="*/ 0 h 610"/>
                    <a:gd name="T56" fmla="*/ 0 w 596"/>
                    <a:gd name="T57" fmla="*/ 0 h 610"/>
                    <a:gd name="T58" fmla="*/ 0 w 596"/>
                    <a:gd name="T59" fmla="*/ 0 h 610"/>
                    <a:gd name="T60" fmla="*/ 0 w 596"/>
                    <a:gd name="T61" fmla="*/ 0 h 610"/>
                    <a:gd name="T62" fmla="*/ 0 w 596"/>
                    <a:gd name="T63" fmla="*/ 0 h 610"/>
                    <a:gd name="T64" fmla="*/ 0 w 596"/>
                    <a:gd name="T65" fmla="*/ 0 h 610"/>
                    <a:gd name="T66" fmla="*/ 0 w 596"/>
                    <a:gd name="T67" fmla="*/ 0 h 610"/>
                    <a:gd name="T68" fmla="*/ 0 w 596"/>
                    <a:gd name="T69" fmla="*/ 0 h 610"/>
                    <a:gd name="T70" fmla="*/ 0 w 596"/>
                    <a:gd name="T71" fmla="*/ 0 h 610"/>
                    <a:gd name="T72" fmla="*/ 0 w 596"/>
                    <a:gd name="T73" fmla="*/ 0 h 610"/>
                    <a:gd name="T74" fmla="*/ 0 w 596"/>
                    <a:gd name="T75" fmla="*/ 0 h 610"/>
                    <a:gd name="T76" fmla="*/ 0 w 596"/>
                    <a:gd name="T77" fmla="*/ 0 h 610"/>
                    <a:gd name="T78" fmla="*/ 0 w 596"/>
                    <a:gd name="T79" fmla="*/ 0 h 610"/>
                    <a:gd name="T80" fmla="*/ 0 w 596"/>
                    <a:gd name="T81" fmla="*/ 0 h 610"/>
                    <a:gd name="T82" fmla="*/ 0 w 596"/>
                    <a:gd name="T83" fmla="*/ 0 h 610"/>
                    <a:gd name="T84" fmla="*/ 0 w 596"/>
                    <a:gd name="T85" fmla="*/ 0 h 610"/>
                    <a:gd name="T86" fmla="*/ 0 w 596"/>
                    <a:gd name="T87" fmla="*/ 0 h 610"/>
                    <a:gd name="T88" fmla="*/ 0 w 596"/>
                    <a:gd name="T89" fmla="*/ 0 h 610"/>
                    <a:gd name="T90" fmla="*/ 0 w 596"/>
                    <a:gd name="T91" fmla="*/ 0 h 610"/>
                    <a:gd name="T92" fmla="*/ 0 w 596"/>
                    <a:gd name="T93" fmla="*/ 0 h 610"/>
                    <a:gd name="T94" fmla="*/ 0 w 596"/>
                    <a:gd name="T95" fmla="*/ 0 h 610"/>
                    <a:gd name="T96" fmla="*/ 0 w 596"/>
                    <a:gd name="T97" fmla="*/ 0 h 610"/>
                    <a:gd name="T98" fmla="*/ 0 w 596"/>
                    <a:gd name="T99" fmla="*/ 0 h 610"/>
                    <a:gd name="T100" fmla="*/ 0 w 596"/>
                    <a:gd name="T101" fmla="*/ 0 h 610"/>
                    <a:gd name="T102" fmla="*/ 0 w 596"/>
                    <a:gd name="T103" fmla="*/ 0 h 610"/>
                    <a:gd name="T104" fmla="*/ 0 w 596"/>
                    <a:gd name="T105" fmla="*/ 0 h 6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6"/>
                    <a:gd name="T160" fmla="*/ 0 h 610"/>
                    <a:gd name="T161" fmla="*/ 596 w 596"/>
                    <a:gd name="T162" fmla="*/ 610 h 6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6" h="610">
                      <a:moveTo>
                        <a:pt x="596" y="484"/>
                      </a:moveTo>
                      <a:lnTo>
                        <a:pt x="564" y="452"/>
                      </a:lnTo>
                      <a:lnTo>
                        <a:pt x="588" y="422"/>
                      </a:lnTo>
                      <a:lnTo>
                        <a:pt x="594" y="386"/>
                      </a:lnTo>
                      <a:lnTo>
                        <a:pt x="568" y="376"/>
                      </a:lnTo>
                      <a:lnTo>
                        <a:pt x="524" y="320"/>
                      </a:lnTo>
                      <a:lnTo>
                        <a:pt x="478" y="274"/>
                      </a:lnTo>
                      <a:lnTo>
                        <a:pt x="498" y="256"/>
                      </a:lnTo>
                      <a:lnTo>
                        <a:pt x="492" y="230"/>
                      </a:lnTo>
                      <a:lnTo>
                        <a:pt x="512" y="188"/>
                      </a:lnTo>
                      <a:lnTo>
                        <a:pt x="544" y="148"/>
                      </a:lnTo>
                      <a:lnTo>
                        <a:pt x="552" y="68"/>
                      </a:lnTo>
                      <a:lnTo>
                        <a:pt x="518" y="52"/>
                      </a:lnTo>
                      <a:lnTo>
                        <a:pt x="458" y="52"/>
                      </a:lnTo>
                      <a:lnTo>
                        <a:pt x="430" y="40"/>
                      </a:lnTo>
                      <a:lnTo>
                        <a:pt x="404" y="40"/>
                      </a:lnTo>
                      <a:lnTo>
                        <a:pt x="368" y="8"/>
                      </a:lnTo>
                      <a:lnTo>
                        <a:pt x="316" y="0"/>
                      </a:lnTo>
                      <a:lnTo>
                        <a:pt x="222" y="30"/>
                      </a:lnTo>
                      <a:lnTo>
                        <a:pt x="156" y="38"/>
                      </a:lnTo>
                      <a:lnTo>
                        <a:pt x="190" y="106"/>
                      </a:lnTo>
                      <a:lnTo>
                        <a:pt x="96" y="122"/>
                      </a:lnTo>
                      <a:lnTo>
                        <a:pt x="44" y="94"/>
                      </a:lnTo>
                      <a:lnTo>
                        <a:pt x="0" y="120"/>
                      </a:lnTo>
                      <a:lnTo>
                        <a:pt x="0" y="158"/>
                      </a:lnTo>
                      <a:lnTo>
                        <a:pt x="82" y="178"/>
                      </a:lnTo>
                      <a:lnTo>
                        <a:pt x="94" y="164"/>
                      </a:lnTo>
                      <a:lnTo>
                        <a:pt x="136" y="176"/>
                      </a:lnTo>
                      <a:lnTo>
                        <a:pt x="114" y="210"/>
                      </a:lnTo>
                      <a:lnTo>
                        <a:pt x="132" y="220"/>
                      </a:lnTo>
                      <a:lnTo>
                        <a:pt x="130" y="260"/>
                      </a:lnTo>
                      <a:lnTo>
                        <a:pt x="188" y="232"/>
                      </a:lnTo>
                      <a:lnTo>
                        <a:pt x="206" y="240"/>
                      </a:lnTo>
                      <a:lnTo>
                        <a:pt x="232" y="252"/>
                      </a:lnTo>
                      <a:lnTo>
                        <a:pt x="232" y="274"/>
                      </a:lnTo>
                      <a:lnTo>
                        <a:pt x="222" y="298"/>
                      </a:lnTo>
                      <a:lnTo>
                        <a:pt x="202" y="316"/>
                      </a:lnTo>
                      <a:lnTo>
                        <a:pt x="274" y="362"/>
                      </a:lnTo>
                      <a:lnTo>
                        <a:pt x="286" y="410"/>
                      </a:lnTo>
                      <a:lnTo>
                        <a:pt x="280" y="444"/>
                      </a:lnTo>
                      <a:lnTo>
                        <a:pt x="282" y="526"/>
                      </a:lnTo>
                      <a:lnTo>
                        <a:pt x="258" y="528"/>
                      </a:lnTo>
                      <a:lnTo>
                        <a:pt x="240" y="518"/>
                      </a:lnTo>
                      <a:lnTo>
                        <a:pt x="218" y="540"/>
                      </a:lnTo>
                      <a:lnTo>
                        <a:pt x="244" y="554"/>
                      </a:lnTo>
                      <a:lnTo>
                        <a:pt x="254" y="588"/>
                      </a:lnTo>
                      <a:lnTo>
                        <a:pt x="310" y="610"/>
                      </a:lnTo>
                      <a:lnTo>
                        <a:pt x="370" y="574"/>
                      </a:lnTo>
                      <a:lnTo>
                        <a:pt x="412" y="588"/>
                      </a:lnTo>
                      <a:lnTo>
                        <a:pt x="488" y="588"/>
                      </a:lnTo>
                      <a:lnTo>
                        <a:pt x="522" y="538"/>
                      </a:lnTo>
                      <a:lnTo>
                        <a:pt x="572" y="516"/>
                      </a:lnTo>
                      <a:lnTo>
                        <a:pt x="596" y="48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9826" name="Freeform 73"/>
              <p:cNvSpPr>
                <a:spLocks/>
              </p:cNvSpPr>
              <p:nvPr/>
            </p:nvSpPr>
            <p:spPr bwMode="auto">
              <a:xfrm>
                <a:off x="2924" y="3296"/>
                <a:ext cx="233" cy="197"/>
              </a:xfrm>
              <a:custGeom>
                <a:avLst/>
                <a:gdLst>
                  <a:gd name="T0" fmla="*/ 0 w 558"/>
                  <a:gd name="T1" fmla="*/ 0 h 570"/>
                  <a:gd name="T2" fmla="*/ 0 w 558"/>
                  <a:gd name="T3" fmla="*/ 0 h 570"/>
                  <a:gd name="T4" fmla="*/ 0 w 558"/>
                  <a:gd name="T5" fmla="*/ 0 h 570"/>
                  <a:gd name="T6" fmla="*/ 0 w 558"/>
                  <a:gd name="T7" fmla="*/ 0 h 570"/>
                  <a:gd name="T8" fmla="*/ 0 w 558"/>
                  <a:gd name="T9" fmla="*/ 0 h 570"/>
                  <a:gd name="T10" fmla="*/ 0 w 558"/>
                  <a:gd name="T11" fmla="*/ 0 h 570"/>
                  <a:gd name="T12" fmla="*/ 0 w 558"/>
                  <a:gd name="T13" fmla="*/ 0 h 570"/>
                  <a:gd name="T14" fmla="*/ 0 w 558"/>
                  <a:gd name="T15" fmla="*/ 0 h 570"/>
                  <a:gd name="T16" fmla="*/ 0 w 558"/>
                  <a:gd name="T17" fmla="*/ 0 h 570"/>
                  <a:gd name="T18" fmla="*/ 0 w 558"/>
                  <a:gd name="T19" fmla="*/ 0 h 570"/>
                  <a:gd name="T20" fmla="*/ 0 w 558"/>
                  <a:gd name="T21" fmla="*/ 0 h 570"/>
                  <a:gd name="T22" fmla="*/ 0 w 558"/>
                  <a:gd name="T23" fmla="*/ 0 h 570"/>
                  <a:gd name="T24" fmla="*/ 0 w 558"/>
                  <a:gd name="T25" fmla="*/ 0 h 570"/>
                  <a:gd name="T26" fmla="*/ 0 w 558"/>
                  <a:gd name="T27" fmla="*/ 0 h 570"/>
                  <a:gd name="T28" fmla="*/ 0 w 558"/>
                  <a:gd name="T29" fmla="*/ 0 h 570"/>
                  <a:gd name="T30" fmla="*/ 0 w 558"/>
                  <a:gd name="T31" fmla="*/ 0 h 570"/>
                  <a:gd name="T32" fmla="*/ 0 w 558"/>
                  <a:gd name="T33" fmla="*/ 0 h 570"/>
                  <a:gd name="T34" fmla="*/ 0 w 558"/>
                  <a:gd name="T35" fmla="*/ 0 h 570"/>
                  <a:gd name="T36" fmla="*/ 0 w 558"/>
                  <a:gd name="T37" fmla="*/ 0 h 570"/>
                  <a:gd name="T38" fmla="*/ 0 w 558"/>
                  <a:gd name="T39" fmla="*/ 0 h 570"/>
                  <a:gd name="T40" fmla="*/ 0 w 558"/>
                  <a:gd name="T41" fmla="*/ 0 h 570"/>
                  <a:gd name="T42" fmla="*/ 0 w 558"/>
                  <a:gd name="T43" fmla="*/ 0 h 570"/>
                  <a:gd name="T44" fmla="*/ 0 w 558"/>
                  <a:gd name="T45" fmla="*/ 0 h 570"/>
                  <a:gd name="T46" fmla="*/ 0 w 558"/>
                  <a:gd name="T47" fmla="*/ 0 h 570"/>
                  <a:gd name="T48" fmla="*/ 0 w 558"/>
                  <a:gd name="T49" fmla="*/ 0 h 570"/>
                  <a:gd name="T50" fmla="*/ 0 w 558"/>
                  <a:gd name="T51" fmla="*/ 0 h 570"/>
                  <a:gd name="T52" fmla="*/ 0 w 558"/>
                  <a:gd name="T53" fmla="*/ 0 h 570"/>
                  <a:gd name="T54" fmla="*/ 0 w 558"/>
                  <a:gd name="T55" fmla="*/ 0 h 570"/>
                  <a:gd name="T56" fmla="*/ 0 w 558"/>
                  <a:gd name="T57" fmla="*/ 0 h 570"/>
                  <a:gd name="T58" fmla="*/ 0 w 558"/>
                  <a:gd name="T59" fmla="*/ 0 h 570"/>
                  <a:gd name="T60" fmla="*/ 0 w 558"/>
                  <a:gd name="T61" fmla="*/ 0 h 570"/>
                  <a:gd name="T62" fmla="*/ 0 w 558"/>
                  <a:gd name="T63" fmla="*/ 0 h 570"/>
                  <a:gd name="T64" fmla="*/ 0 w 558"/>
                  <a:gd name="T65" fmla="*/ 0 h 570"/>
                  <a:gd name="T66" fmla="*/ 0 w 558"/>
                  <a:gd name="T67" fmla="*/ 0 h 570"/>
                  <a:gd name="T68" fmla="*/ 0 w 558"/>
                  <a:gd name="T69" fmla="*/ 0 h 570"/>
                  <a:gd name="T70" fmla="*/ 0 w 558"/>
                  <a:gd name="T71" fmla="*/ 0 h 570"/>
                  <a:gd name="T72" fmla="*/ 0 w 558"/>
                  <a:gd name="T73" fmla="*/ 0 h 57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58"/>
                  <a:gd name="T112" fmla="*/ 0 h 570"/>
                  <a:gd name="T113" fmla="*/ 558 w 558"/>
                  <a:gd name="T114" fmla="*/ 570 h 57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58" h="570">
                    <a:moveTo>
                      <a:pt x="558" y="420"/>
                    </a:moveTo>
                    <a:lnTo>
                      <a:pt x="538" y="390"/>
                    </a:lnTo>
                    <a:lnTo>
                      <a:pt x="508" y="376"/>
                    </a:lnTo>
                    <a:lnTo>
                      <a:pt x="488" y="322"/>
                    </a:lnTo>
                    <a:lnTo>
                      <a:pt x="500" y="248"/>
                    </a:lnTo>
                    <a:lnTo>
                      <a:pt x="482" y="220"/>
                    </a:lnTo>
                    <a:lnTo>
                      <a:pt x="466" y="158"/>
                    </a:lnTo>
                    <a:lnTo>
                      <a:pt x="446" y="104"/>
                    </a:lnTo>
                    <a:lnTo>
                      <a:pt x="434" y="40"/>
                    </a:lnTo>
                    <a:lnTo>
                      <a:pt x="332" y="2"/>
                    </a:lnTo>
                    <a:lnTo>
                      <a:pt x="300" y="0"/>
                    </a:lnTo>
                    <a:lnTo>
                      <a:pt x="280" y="30"/>
                    </a:lnTo>
                    <a:lnTo>
                      <a:pt x="242" y="56"/>
                    </a:lnTo>
                    <a:lnTo>
                      <a:pt x="186" y="48"/>
                    </a:lnTo>
                    <a:lnTo>
                      <a:pt x="158" y="58"/>
                    </a:lnTo>
                    <a:lnTo>
                      <a:pt x="164" y="96"/>
                    </a:lnTo>
                    <a:lnTo>
                      <a:pt x="144" y="126"/>
                    </a:lnTo>
                    <a:lnTo>
                      <a:pt x="98" y="110"/>
                    </a:lnTo>
                    <a:lnTo>
                      <a:pt x="26" y="120"/>
                    </a:lnTo>
                    <a:lnTo>
                      <a:pt x="16" y="152"/>
                    </a:lnTo>
                    <a:lnTo>
                      <a:pt x="16" y="180"/>
                    </a:lnTo>
                    <a:lnTo>
                      <a:pt x="0" y="194"/>
                    </a:lnTo>
                    <a:lnTo>
                      <a:pt x="54" y="252"/>
                    </a:lnTo>
                    <a:lnTo>
                      <a:pt x="90" y="298"/>
                    </a:lnTo>
                    <a:lnTo>
                      <a:pt x="116" y="308"/>
                    </a:lnTo>
                    <a:lnTo>
                      <a:pt x="108" y="348"/>
                    </a:lnTo>
                    <a:lnTo>
                      <a:pt x="88" y="378"/>
                    </a:lnTo>
                    <a:lnTo>
                      <a:pt x="118" y="416"/>
                    </a:lnTo>
                    <a:lnTo>
                      <a:pt x="182" y="424"/>
                    </a:lnTo>
                    <a:lnTo>
                      <a:pt x="228" y="498"/>
                    </a:lnTo>
                    <a:lnTo>
                      <a:pt x="290" y="514"/>
                    </a:lnTo>
                    <a:lnTo>
                      <a:pt x="370" y="544"/>
                    </a:lnTo>
                    <a:lnTo>
                      <a:pt x="396" y="570"/>
                    </a:lnTo>
                    <a:lnTo>
                      <a:pt x="400" y="538"/>
                    </a:lnTo>
                    <a:lnTo>
                      <a:pt x="432" y="520"/>
                    </a:lnTo>
                    <a:lnTo>
                      <a:pt x="498" y="508"/>
                    </a:lnTo>
                    <a:lnTo>
                      <a:pt x="558" y="42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9827" name="Group 74"/>
              <p:cNvGrpSpPr>
                <a:grpSpLocks/>
              </p:cNvGrpSpPr>
              <p:nvPr/>
            </p:nvGrpSpPr>
            <p:grpSpPr bwMode="auto">
              <a:xfrm>
                <a:off x="3105" y="3244"/>
                <a:ext cx="370" cy="349"/>
                <a:chOff x="3105" y="3244"/>
                <a:chExt cx="370" cy="349"/>
              </a:xfrm>
            </p:grpSpPr>
            <p:sp>
              <p:nvSpPr>
                <p:cNvPr id="29829" name="Freeform 75"/>
                <p:cNvSpPr>
                  <a:spLocks/>
                </p:cNvSpPr>
                <p:nvPr/>
              </p:nvSpPr>
              <p:spPr bwMode="auto">
                <a:xfrm>
                  <a:off x="3258" y="3244"/>
                  <a:ext cx="116" cy="50"/>
                </a:xfrm>
                <a:custGeom>
                  <a:avLst/>
                  <a:gdLst>
                    <a:gd name="T0" fmla="*/ 0 w 276"/>
                    <a:gd name="T1" fmla="*/ 0 h 144"/>
                    <a:gd name="T2" fmla="*/ 0 w 276"/>
                    <a:gd name="T3" fmla="*/ 0 h 144"/>
                    <a:gd name="T4" fmla="*/ 0 w 276"/>
                    <a:gd name="T5" fmla="*/ 0 h 144"/>
                    <a:gd name="T6" fmla="*/ 0 w 276"/>
                    <a:gd name="T7" fmla="*/ 0 h 144"/>
                    <a:gd name="T8" fmla="*/ 0 w 276"/>
                    <a:gd name="T9" fmla="*/ 0 h 144"/>
                    <a:gd name="T10" fmla="*/ 0 w 276"/>
                    <a:gd name="T11" fmla="*/ 0 h 144"/>
                    <a:gd name="T12" fmla="*/ 0 w 276"/>
                    <a:gd name="T13" fmla="*/ 0 h 144"/>
                    <a:gd name="T14" fmla="*/ 0 w 276"/>
                    <a:gd name="T15" fmla="*/ 0 h 144"/>
                    <a:gd name="T16" fmla="*/ 0 w 276"/>
                    <a:gd name="T17" fmla="*/ 0 h 144"/>
                    <a:gd name="T18" fmla="*/ 0 w 276"/>
                    <a:gd name="T19" fmla="*/ 0 h 144"/>
                    <a:gd name="T20" fmla="*/ 0 w 276"/>
                    <a:gd name="T21" fmla="*/ 0 h 144"/>
                    <a:gd name="T22" fmla="*/ 0 w 276"/>
                    <a:gd name="T23" fmla="*/ 0 h 144"/>
                    <a:gd name="T24" fmla="*/ 0 w 276"/>
                    <a:gd name="T25" fmla="*/ 0 h 144"/>
                    <a:gd name="T26" fmla="*/ 0 w 276"/>
                    <a:gd name="T27" fmla="*/ 0 h 144"/>
                    <a:gd name="T28" fmla="*/ 0 w 276"/>
                    <a:gd name="T29" fmla="*/ 0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6"/>
                    <a:gd name="T46" fmla="*/ 0 h 144"/>
                    <a:gd name="T47" fmla="*/ 276 w 276"/>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6" h="144">
                      <a:moveTo>
                        <a:pt x="276" y="44"/>
                      </a:moveTo>
                      <a:lnTo>
                        <a:pt x="220" y="82"/>
                      </a:lnTo>
                      <a:lnTo>
                        <a:pt x="156" y="144"/>
                      </a:lnTo>
                      <a:lnTo>
                        <a:pt x="106" y="130"/>
                      </a:lnTo>
                      <a:lnTo>
                        <a:pt x="62" y="112"/>
                      </a:lnTo>
                      <a:lnTo>
                        <a:pt x="58" y="76"/>
                      </a:lnTo>
                      <a:lnTo>
                        <a:pt x="0" y="56"/>
                      </a:lnTo>
                      <a:lnTo>
                        <a:pt x="12" y="18"/>
                      </a:lnTo>
                      <a:lnTo>
                        <a:pt x="36" y="2"/>
                      </a:lnTo>
                      <a:lnTo>
                        <a:pt x="82" y="24"/>
                      </a:lnTo>
                      <a:lnTo>
                        <a:pt x="104" y="8"/>
                      </a:lnTo>
                      <a:lnTo>
                        <a:pt x="142" y="18"/>
                      </a:lnTo>
                      <a:lnTo>
                        <a:pt x="178" y="0"/>
                      </a:lnTo>
                      <a:lnTo>
                        <a:pt x="220" y="24"/>
                      </a:lnTo>
                      <a:lnTo>
                        <a:pt x="276" y="4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0" name="Freeform 76"/>
                <p:cNvSpPr>
                  <a:spLocks/>
                </p:cNvSpPr>
                <p:nvPr/>
              </p:nvSpPr>
              <p:spPr bwMode="auto">
                <a:xfrm>
                  <a:off x="3233" y="3283"/>
                  <a:ext cx="90" cy="48"/>
                </a:xfrm>
                <a:custGeom>
                  <a:avLst/>
                  <a:gdLst>
                    <a:gd name="T0" fmla="*/ 0 w 218"/>
                    <a:gd name="T1" fmla="*/ 0 h 140"/>
                    <a:gd name="T2" fmla="*/ 0 w 218"/>
                    <a:gd name="T3" fmla="*/ 0 h 140"/>
                    <a:gd name="T4" fmla="*/ 0 w 218"/>
                    <a:gd name="T5" fmla="*/ 0 h 140"/>
                    <a:gd name="T6" fmla="*/ 0 w 218"/>
                    <a:gd name="T7" fmla="*/ 0 h 140"/>
                    <a:gd name="T8" fmla="*/ 0 w 218"/>
                    <a:gd name="T9" fmla="*/ 0 h 140"/>
                    <a:gd name="T10" fmla="*/ 0 w 218"/>
                    <a:gd name="T11" fmla="*/ 0 h 140"/>
                    <a:gd name="T12" fmla="*/ 0 w 218"/>
                    <a:gd name="T13" fmla="*/ 0 h 140"/>
                    <a:gd name="T14" fmla="*/ 0 w 218"/>
                    <a:gd name="T15" fmla="*/ 0 h 140"/>
                    <a:gd name="T16" fmla="*/ 0 w 218"/>
                    <a:gd name="T17" fmla="*/ 0 h 140"/>
                    <a:gd name="T18" fmla="*/ 0 w 218"/>
                    <a:gd name="T19" fmla="*/ 0 h 140"/>
                    <a:gd name="T20" fmla="*/ 0 w 218"/>
                    <a:gd name="T21" fmla="*/ 0 h 140"/>
                    <a:gd name="T22" fmla="*/ 0 w 218"/>
                    <a:gd name="T23" fmla="*/ 0 h 140"/>
                    <a:gd name="T24" fmla="*/ 0 w 218"/>
                    <a:gd name="T25" fmla="*/ 0 h 140"/>
                    <a:gd name="T26" fmla="*/ 0 w 218"/>
                    <a:gd name="T27" fmla="*/ 0 h 140"/>
                    <a:gd name="T28" fmla="*/ 0 w 218"/>
                    <a:gd name="T29" fmla="*/ 0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8"/>
                    <a:gd name="T46" fmla="*/ 0 h 140"/>
                    <a:gd name="T47" fmla="*/ 218 w 218"/>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8" h="140">
                      <a:moveTo>
                        <a:pt x="164" y="140"/>
                      </a:moveTo>
                      <a:lnTo>
                        <a:pt x="78" y="132"/>
                      </a:lnTo>
                      <a:lnTo>
                        <a:pt x="0" y="112"/>
                      </a:lnTo>
                      <a:lnTo>
                        <a:pt x="12" y="22"/>
                      </a:lnTo>
                      <a:lnTo>
                        <a:pt x="52" y="26"/>
                      </a:lnTo>
                      <a:lnTo>
                        <a:pt x="84" y="0"/>
                      </a:lnTo>
                      <a:lnTo>
                        <a:pt x="120" y="22"/>
                      </a:lnTo>
                      <a:lnTo>
                        <a:pt x="130" y="6"/>
                      </a:lnTo>
                      <a:lnTo>
                        <a:pt x="176" y="20"/>
                      </a:lnTo>
                      <a:lnTo>
                        <a:pt x="218" y="36"/>
                      </a:lnTo>
                      <a:lnTo>
                        <a:pt x="210" y="68"/>
                      </a:lnTo>
                      <a:lnTo>
                        <a:pt x="194" y="82"/>
                      </a:lnTo>
                      <a:lnTo>
                        <a:pt x="178" y="100"/>
                      </a:lnTo>
                      <a:lnTo>
                        <a:pt x="172" y="120"/>
                      </a:lnTo>
                      <a:lnTo>
                        <a:pt x="164" y="14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1" name="Freeform 77"/>
                <p:cNvSpPr>
                  <a:spLocks/>
                </p:cNvSpPr>
                <p:nvPr/>
              </p:nvSpPr>
              <p:spPr bwMode="auto">
                <a:xfrm>
                  <a:off x="3105" y="3311"/>
                  <a:ext cx="219" cy="160"/>
                </a:xfrm>
                <a:custGeom>
                  <a:avLst/>
                  <a:gdLst>
                    <a:gd name="T0" fmla="*/ 0 w 526"/>
                    <a:gd name="T1" fmla="*/ 0 h 464"/>
                    <a:gd name="T2" fmla="*/ 0 w 526"/>
                    <a:gd name="T3" fmla="*/ 0 h 464"/>
                    <a:gd name="T4" fmla="*/ 0 w 526"/>
                    <a:gd name="T5" fmla="*/ 0 h 464"/>
                    <a:gd name="T6" fmla="*/ 0 w 526"/>
                    <a:gd name="T7" fmla="*/ 0 h 464"/>
                    <a:gd name="T8" fmla="*/ 0 w 526"/>
                    <a:gd name="T9" fmla="*/ 0 h 464"/>
                    <a:gd name="T10" fmla="*/ 0 w 526"/>
                    <a:gd name="T11" fmla="*/ 0 h 464"/>
                    <a:gd name="T12" fmla="*/ 0 w 526"/>
                    <a:gd name="T13" fmla="*/ 0 h 464"/>
                    <a:gd name="T14" fmla="*/ 0 w 526"/>
                    <a:gd name="T15" fmla="*/ 0 h 464"/>
                    <a:gd name="T16" fmla="*/ 0 w 526"/>
                    <a:gd name="T17" fmla="*/ 0 h 464"/>
                    <a:gd name="T18" fmla="*/ 0 w 526"/>
                    <a:gd name="T19" fmla="*/ 0 h 464"/>
                    <a:gd name="T20" fmla="*/ 0 w 526"/>
                    <a:gd name="T21" fmla="*/ 0 h 464"/>
                    <a:gd name="T22" fmla="*/ 0 w 526"/>
                    <a:gd name="T23" fmla="*/ 0 h 464"/>
                    <a:gd name="T24" fmla="*/ 0 w 526"/>
                    <a:gd name="T25" fmla="*/ 0 h 464"/>
                    <a:gd name="T26" fmla="*/ 0 w 526"/>
                    <a:gd name="T27" fmla="*/ 0 h 464"/>
                    <a:gd name="T28" fmla="*/ 0 w 526"/>
                    <a:gd name="T29" fmla="*/ 0 h 464"/>
                    <a:gd name="T30" fmla="*/ 0 w 526"/>
                    <a:gd name="T31" fmla="*/ 0 h 464"/>
                    <a:gd name="T32" fmla="*/ 0 w 526"/>
                    <a:gd name="T33" fmla="*/ 0 h 464"/>
                    <a:gd name="T34" fmla="*/ 0 w 526"/>
                    <a:gd name="T35" fmla="*/ 0 h 464"/>
                    <a:gd name="T36" fmla="*/ 0 w 526"/>
                    <a:gd name="T37" fmla="*/ 0 h 464"/>
                    <a:gd name="T38" fmla="*/ 0 w 526"/>
                    <a:gd name="T39" fmla="*/ 0 h 464"/>
                    <a:gd name="T40" fmla="*/ 0 w 526"/>
                    <a:gd name="T41" fmla="*/ 0 h 464"/>
                    <a:gd name="T42" fmla="*/ 0 w 526"/>
                    <a:gd name="T43" fmla="*/ 0 h 464"/>
                    <a:gd name="T44" fmla="*/ 0 w 526"/>
                    <a:gd name="T45" fmla="*/ 0 h 464"/>
                    <a:gd name="T46" fmla="*/ 0 w 526"/>
                    <a:gd name="T47" fmla="*/ 0 h 464"/>
                    <a:gd name="T48" fmla="*/ 0 w 526"/>
                    <a:gd name="T49" fmla="*/ 0 h 464"/>
                    <a:gd name="T50" fmla="*/ 0 w 526"/>
                    <a:gd name="T51" fmla="*/ 0 h 464"/>
                    <a:gd name="T52" fmla="*/ 0 w 526"/>
                    <a:gd name="T53" fmla="*/ 0 h 464"/>
                    <a:gd name="T54" fmla="*/ 0 w 526"/>
                    <a:gd name="T55" fmla="*/ 0 h 464"/>
                    <a:gd name="T56" fmla="*/ 0 w 526"/>
                    <a:gd name="T57" fmla="*/ 0 h 464"/>
                    <a:gd name="T58" fmla="*/ 0 w 526"/>
                    <a:gd name="T59" fmla="*/ 0 h 464"/>
                    <a:gd name="T60" fmla="*/ 0 w 526"/>
                    <a:gd name="T61" fmla="*/ 0 h 464"/>
                    <a:gd name="T62" fmla="*/ 0 w 526"/>
                    <a:gd name="T63" fmla="*/ 0 h 464"/>
                    <a:gd name="T64" fmla="*/ 0 w 526"/>
                    <a:gd name="T65" fmla="*/ 0 h 464"/>
                    <a:gd name="T66" fmla="*/ 0 w 526"/>
                    <a:gd name="T67" fmla="*/ 0 h 464"/>
                    <a:gd name="T68" fmla="*/ 0 w 526"/>
                    <a:gd name="T69" fmla="*/ 0 h 464"/>
                    <a:gd name="T70" fmla="*/ 0 w 526"/>
                    <a:gd name="T71" fmla="*/ 0 h 464"/>
                    <a:gd name="T72" fmla="*/ 0 w 526"/>
                    <a:gd name="T73" fmla="*/ 0 h 464"/>
                    <a:gd name="T74" fmla="*/ 0 w 526"/>
                    <a:gd name="T75" fmla="*/ 0 h 464"/>
                    <a:gd name="T76" fmla="*/ 0 w 526"/>
                    <a:gd name="T77" fmla="*/ 0 h 464"/>
                    <a:gd name="T78" fmla="*/ 0 w 526"/>
                    <a:gd name="T79" fmla="*/ 0 h 4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26"/>
                    <a:gd name="T121" fmla="*/ 0 h 464"/>
                    <a:gd name="T122" fmla="*/ 526 w 526"/>
                    <a:gd name="T123" fmla="*/ 464 h 4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26" h="464">
                      <a:moveTo>
                        <a:pt x="526" y="304"/>
                      </a:moveTo>
                      <a:lnTo>
                        <a:pt x="474" y="250"/>
                      </a:lnTo>
                      <a:lnTo>
                        <a:pt x="452" y="178"/>
                      </a:lnTo>
                      <a:lnTo>
                        <a:pt x="474" y="60"/>
                      </a:lnTo>
                      <a:lnTo>
                        <a:pt x="388" y="52"/>
                      </a:lnTo>
                      <a:lnTo>
                        <a:pt x="272" y="22"/>
                      </a:lnTo>
                      <a:lnTo>
                        <a:pt x="188" y="52"/>
                      </a:lnTo>
                      <a:lnTo>
                        <a:pt x="154" y="16"/>
                      </a:lnTo>
                      <a:lnTo>
                        <a:pt x="134" y="38"/>
                      </a:lnTo>
                      <a:lnTo>
                        <a:pt x="92" y="22"/>
                      </a:lnTo>
                      <a:lnTo>
                        <a:pt x="64" y="30"/>
                      </a:lnTo>
                      <a:lnTo>
                        <a:pt x="0" y="0"/>
                      </a:lnTo>
                      <a:lnTo>
                        <a:pt x="14" y="72"/>
                      </a:lnTo>
                      <a:lnTo>
                        <a:pt x="32" y="114"/>
                      </a:lnTo>
                      <a:lnTo>
                        <a:pt x="50" y="186"/>
                      </a:lnTo>
                      <a:lnTo>
                        <a:pt x="68" y="204"/>
                      </a:lnTo>
                      <a:lnTo>
                        <a:pt x="50" y="280"/>
                      </a:lnTo>
                      <a:lnTo>
                        <a:pt x="72" y="330"/>
                      </a:lnTo>
                      <a:lnTo>
                        <a:pt x="110" y="352"/>
                      </a:lnTo>
                      <a:lnTo>
                        <a:pt x="120" y="380"/>
                      </a:lnTo>
                      <a:lnTo>
                        <a:pt x="164" y="384"/>
                      </a:lnTo>
                      <a:lnTo>
                        <a:pt x="204" y="398"/>
                      </a:lnTo>
                      <a:lnTo>
                        <a:pt x="234" y="402"/>
                      </a:lnTo>
                      <a:lnTo>
                        <a:pt x="248" y="418"/>
                      </a:lnTo>
                      <a:lnTo>
                        <a:pt x="246" y="436"/>
                      </a:lnTo>
                      <a:lnTo>
                        <a:pt x="246" y="464"/>
                      </a:lnTo>
                      <a:lnTo>
                        <a:pt x="276" y="448"/>
                      </a:lnTo>
                      <a:lnTo>
                        <a:pt x="314" y="464"/>
                      </a:lnTo>
                      <a:lnTo>
                        <a:pt x="330" y="454"/>
                      </a:lnTo>
                      <a:lnTo>
                        <a:pt x="380" y="454"/>
                      </a:lnTo>
                      <a:lnTo>
                        <a:pt x="394" y="422"/>
                      </a:lnTo>
                      <a:lnTo>
                        <a:pt x="408" y="420"/>
                      </a:lnTo>
                      <a:lnTo>
                        <a:pt x="422" y="440"/>
                      </a:lnTo>
                      <a:lnTo>
                        <a:pt x="450" y="436"/>
                      </a:lnTo>
                      <a:lnTo>
                        <a:pt x="474" y="416"/>
                      </a:lnTo>
                      <a:lnTo>
                        <a:pt x="474" y="394"/>
                      </a:lnTo>
                      <a:lnTo>
                        <a:pt x="470" y="380"/>
                      </a:lnTo>
                      <a:lnTo>
                        <a:pt x="488" y="358"/>
                      </a:lnTo>
                      <a:lnTo>
                        <a:pt x="514" y="340"/>
                      </a:lnTo>
                      <a:lnTo>
                        <a:pt x="526" y="30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32" name="Freeform 78"/>
                <p:cNvSpPr>
                  <a:spLocks/>
                </p:cNvSpPr>
                <p:nvPr/>
              </p:nvSpPr>
              <p:spPr bwMode="auto">
                <a:xfrm>
                  <a:off x="3248" y="3416"/>
                  <a:ext cx="227" cy="177"/>
                </a:xfrm>
                <a:custGeom>
                  <a:avLst/>
                  <a:gdLst>
                    <a:gd name="T0" fmla="*/ 0 w 546"/>
                    <a:gd name="T1" fmla="*/ 0 h 514"/>
                    <a:gd name="T2" fmla="*/ 0 w 546"/>
                    <a:gd name="T3" fmla="*/ 0 h 514"/>
                    <a:gd name="T4" fmla="*/ 0 w 546"/>
                    <a:gd name="T5" fmla="*/ 0 h 514"/>
                    <a:gd name="T6" fmla="*/ 0 w 546"/>
                    <a:gd name="T7" fmla="*/ 0 h 514"/>
                    <a:gd name="T8" fmla="*/ 0 w 546"/>
                    <a:gd name="T9" fmla="*/ 0 h 514"/>
                    <a:gd name="T10" fmla="*/ 0 w 546"/>
                    <a:gd name="T11" fmla="*/ 0 h 514"/>
                    <a:gd name="T12" fmla="*/ 0 w 546"/>
                    <a:gd name="T13" fmla="*/ 0 h 514"/>
                    <a:gd name="T14" fmla="*/ 0 w 546"/>
                    <a:gd name="T15" fmla="*/ 0 h 514"/>
                    <a:gd name="T16" fmla="*/ 0 w 546"/>
                    <a:gd name="T17" fmla="*/ 0 h 514"/>
                    <a:gd name="T18" fmla="*/ 0 w 546"/>
                    <a:gd name="T19" fmla="*/ 0 h 514"/>
                    <a:gd name="T20" fmla="*/ 0 w 546"/>
                    <a:gd name="T21" fmla="*/ 0 h 514"/>
                    <a:gd name="T22" fmla="*/ 0 w 546"/>
                    <a:gd name="T23" fmla="*/ 0 h 514"/>
                    <a:gd name="T24" fmla="*/ 0 w 546"/>
                    <a:gd name="T25" fmla="*/ 0 h 514"/>
                    <a:gd name="T26" fmla="*/ 0 w 546"/>
                    <a:gd name="T27" fmla="*/ 0 h 514"/>
                    <a:gd name="T28" fmla="*/ 0 w 546"/>
                    <a:gd name="T29" fmla="*/ 0 h 514"/>
                    <a:gd name="T30" fmla="*/ 0 w 546"/>
                    <a:gd name="T31" fmla="*/ 0 h 514"/>
                    <a:gd name="T32" fmla="*/ 0 w 546"/>
                    <a:gd name="T33" fmla="*/ 0 h 514"/>
                    <a:gd name="T34" fmla="*/ 0 w 546"/>
                    <a:gd name="T35" fmla="*/ 0 h 514"/>
                    <a:gd name="T36" fmla="*/ 0 w 546"/>
                    <a:gd name="T37" fmla="*/ 0 h 514"/>
                    <a:gd name="T38" fmla="*/ 0 w 546"/>
                    <a:gd name="T39" fmla="*/ 0 h 514"/>
                    <a:gd name="T40" fmla="*/ 0 w 546"/>
                    <a:gd name="T41" fmla="*/ 0 h 514"/>
                    <a:gd name="T42" fmla="*/ 0 w 546"/>
                    <a:gd name="T43" fmla="*/ 0 h 514"/>
                    <a:gd name="T44" fmla="*/ 0 w 546"/>
                    <a:gd name="T45" fmla="*/ 0 h 514"/>
                    <a:gd name="T46" fmla="*/ 0 w 546"/>
                    <a:gd name="T47" fmla="*/ 0 h 514"/>
                    <a:gd name="T48" fmla="*/ 0 w 546"/>
                    <a:gd name="T49" fmla="*/ 0 h 514"/>
                    <a:gd name="T50" fmla="*/ 0 w 546"/>
                    <a:gd name="T51" fmla="*/ 0 h 514"/>
                    <a:gd name="T52" fmla="*/ 0 w 546"/>
                    <a:gd name="T53" fmla="*/ 0 h 514"/>
                    <a:gd name="T54" fmla="*/ 0 w 546"/>
                    <a:gd name="T55" fmla="*/ 0 h 514"/>
                    <a:gd name="T56" fmla="*/ 0 w 546"/>
                    <a:gd name="T57" fmla="*/ 0 h 514"/>
                    <a:gd name="T58" fmla="*/ 0 w 546"/>
                    <a:gd name="T59" fmla="*/ 0 h 514"/>
                    <a:gd name="T60" fmla="*/ 0 w 546"/>
                    <a:gd name="T61" fmla="*/ 0 h 514"/>
                    <a:gd name="T62" fmla="*/ 0 w 546"/>
                    <a:gd name="T63" fmla="*/ 0 h 514"/>
                    <a:gd name="T64" fmla="*/ 0 w 546"/>
                    <a:gd name="T65" fmla="*/ 0 h 514"/>
                    <a:gd name="T66" fmla="*/ 0 w 546"/>
                    <a:gd name="T67" fmla="*/ 0 h 514"/>
                    <a:gd name="T68" fmla="*/ 0 w 546"/>
                    <a:gd name="T69" fmla="*/ 0 h 514"/>
                    <a:gd name="T70" fmla="*/ 0 w 546"/>
                    <a:gd name="T71" fmla="*/ 0 h 514"/>
                    <a:gd name="T72" fmla="*/ 0 w 546"/>
                    <a:gd name="T73" fmla="*/ 0 h 514"/>
                    <a:gd name="T74" fmla="*/ 0 w 546"/>
                    <a:gd name="T75" fmla="*/ 0 h 514"/>
                    <a:gd name="T76" fmla="*/ 0 w 546"/>
                    <a:gd name="T77" fmla="*/ 0 h 514"/>
                    <a:gd name="T78" fmla="*/ 0 w 546"/>
                    <a:gd name="T79" fmla="*/ 0 h 514"/>
                    <a:gd name="T80" fmla="*/ 0 w 546"/>
                    <a:gd name="T81" fmla="*/ 0 h 5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46"/>
                    <a:gd name="T124" fmla="*/ 0 h 514"/>
                    <a:gd name="T125" fmla="*/ 546 w 546"/>
                    <a:gd name="T126" fmla="*/ 514 h 5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46" h="514">
                      <a:moveTo>
                        <a:pt x="288" y="502"/>
                      </a:moveTo>
                      <a:lnTo>
                        <a:pt x="298" y="450"/>
                      </a:lnTo>
                      <a:lnTo>
                        <a:pt x="270" y="416"/>
                      </a:lnTo>
                      <a:lnTo>
                        <a:pt x="270" y="364"/>
                      </a:lnTo>
                      <a:lnTo>
                        <a:pt x="240" y="352"/>
                      </a:lnTo>
                      <a:lnTo>
                        <a:pt x="196" y="352"/>
                      </a:lnTo>
                      <a:lnTo>
                        <a:pt x="184" y="368"/>
                      </a:lnTo>
                      <a:lnTo>
                        <a:pt x="182" y="312"/>
                      </a:lnTo>
                      <a:lnTo>
                        <a:pt x="206" y="274"/>
                      </a:lnTo>
                      <a:lnTo>
                        <a:pt x="198" y="234"/>
                      </a:lnTo>
                      <a:lnTo>
                        <a:pt x="154" y="256"/>
                      </a:lnTo>
                      <a:lnTo>
                        <a:pt x="114" y="262"/>
                      </a:lnTo>
                      <a:lnTo>
                        <a:pt x="86" y="248"/>
                      </a:lnTo>
                      <a:lnTo>
                        <a:pt x="60" y="226"/>
                      </a:lnTo>
                      <a:lnTo>
                        <a:pt x="24" y="208"/>
                      </a:lnTo>
                      <a:lnTo>
                        <a:pt x="0" y="178"/>
                      </a:lnTo>
                      <a:lnTo>
                        <a:pt x="0" y="148"/>
                      </a:lnTo>
                      <a:lnTo>
                        <a:pt x="40" y="148"/>
                      </a:lnTo>
                      <a:lnTo>
                        <a:pt x="52" y="112"/>
                      </a:lnTo>
                      <a:lnTo>
                        <a:pt x="68" y="116"/>
                      </a:lnTo>
                      <a:lnTo>
                        <a:pt x="82" y="136"/>
                      </a:lnTo>
                      <a:lnTo>
                        <a:pt x="108" y="130"/>
                      </a:lnTo>
                      <a:lnTo>
                        <a:pt x="132" y="108"/>
                      </a:lnTo>
                      <a:lnTo>
                        <a:pt x="132" y="92"/>
                      </a:lnTo>
                      <a:lnTo>
                        <a:pt x="126" y="76"/>
                      </a:lnTo>
                      <a:lnTo>
                        <a:pt x="154" y="42"/>
                      </a:lnTo>
                      <a:lnTo>
                        <a:pt x="172" y="36"/>
                      </a:lnTo>
                      <a:lnTo>
                        <a:pt x="184" y="0"/>
                      </a:lnTo>
                      <a:lnTo>
                        <a:pt x="216" y="6"/>
                      </a:lnTo>
                      <a:lnTo>
                        <a:pt x="252" y="36"/>
                      </a:lnTo>
                      <a:lnTo>
                        <a:pt x="276" y="46"/>
                      </a:lnTo>
                      <a:lnTo>
                        <a:pt x="330" y="52"/>
                      </a:lnTo>
                      <a:lnTo>
                        <a:pt x="404" y="46"/>
                      </a:lnTo>
                      <a:lnTo>
                        <a:pt x="524" y="172"/>
                      </a:lnTo>
                      <a:lnTo>
                        <a:pt x="534" y="320"/>
                      </a:lnTo>
                      <a:lnTo>
                        <a:pt x="546" y="338"/>
                      </a:lnTo>
                      <a:lnTo>
                        <a:pt x="544" y="386"/>
                      </a:lnTo>
                      <a:lnTo>
                        <a:pt x="446" y="448"/>
                      </a:lnTo>
                      <a:lnTo>
                        <a:pt x="408" y="458"/>
                      </a:lnTo>
                      <a:lnTo>
                        <a:pt x="382" y="514"/>
                      </a:lnTo>
                      <a:lnTo>
                        <a:pt x="288" y="502"/>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9828" name="Freeform 79"/>
              <p:cNvSpPr>
                <a:spLocks/>
              </p:cNvSpPr>
              <p:nvPr/>
            </p:nvSpPr>
            <p:spPr bwMode="auto">
              <a:xfrm>
                <a:off x="3069" y="3430"/>
                <a:ext cx="304" cy="265"/>
              </a:xfrm>
              <a:custGeom>
                <a:avLst/>
                <a:gdLst>
                  <a:gd name="T0" fmla="*/ 0 w 728"/>
                  <a:gd name="T1" fmla="*/ 0 h 736"/>
                  <a:gd name="T2" fmla="*/ 0 w 728"/>
                  <a:gd name="T3" fmla="*/ 0 h 736"/>
                  <a:gd name="T4" fmla="*/ 0 w 728"/>
                  <a:gd name="T5" fmla="*/ 0 h 736"/>
                  <a:gd name="T6" fmla="*/ 0 w 728"/>
                  <a:gd name="T7" fmla="*/ 0 h 736"/>
                  <a:gd name="T8" fmla="*/ 0 w 728"/>
                  <a:gd name="T9" fmla="*/ 0 h 736"/>
                  <a:gd name="T10" fmla="*/ 0 w 728"/>
                  <a:gd name="T11" fmla="*/ 0 h 736"/>
                  <a:gd name="T12" fmla="*/ 0 w 728"/>
                  <a:gd name="T13" fmla="*/ 0 h 736"/>
                  <a:gd name="T14" fmla="*/ 0 w 728"/>
                  <a:gd name="T15" fmla="*/ 0 h 736"/>
                  <a:gd name="T16" fmla="*/ 0 w 728"/>
                  <a:gd name="T17" fmla="*/ 0 h 736"/>
                  <a:gd name="T18" fmla="*/ 0 w 728"/>
                  <a:gd name="T19" fmla="*/ 0 h 736"/>
                  <a:gd name="T20" fmla="*/ 0 w 728"/>
                  <a:gd name="T21" fmla="*/ 0 h 736"/>
                  <a:gd name="T22" fmla="*/ 0 w 728"/>
                  <a:gd name="T23" fmla="*/ 0 h 736"/>
                  <a:gd name="T24" fmla="*/ 0 w 728"/>
                  <a:gd name="T25" fmla="*/ 0 h 736"/>
                  <a:gd name="T26" fmla="*/ 0 w 728"/>
                  <a:gd name="T27" fmla="*/ 0 h 736"/>
                  <a:gd name="T28" fmla="*/ 0 w 728"/>
                  <a:gd name="T29" fmla="*/ 0 h 736"/>
                  <a:gd name="T30" fmla="*/ 0 w 728"/>
                  <a:gd name="T31" fmla="*/ 0 h 736"/>
                  <a:gd name="T32" fmla="*/ 0 w 728"/>
                  <a:gd name="T33" fmla="*/ 0 h 736"/>
                  <a:gd name="T34" fmla="*/ 0 w 728"/>
                  <a:gd name="T35" fmla="*/ 0 h 736"/>
                  <a:gd name="T36" fmla="*/ 0 w 728"/>
                  <a:gd name="T37" fmla="*/ 0 h 736"/>
                  <a:gd name="T38" fmla="*/ 0 w 728"/>
                  <a:gd name="T39" fmla="*/ 0 h 736"/>
                  <a:gd name="T40" fmla="*/ 0 w 728"/>
                  <a:gd name="T41" fmla="*/ 0 h 736"/>
                  <a:gd name="T42" fmla="*/ 0 w 728"/>
                  <a:gd name="T43" fmla="*/ 0 h 736"/>
                  <a:gd name="T44" fmla="*/ 0 w 728"/>
                  <a:gd name="T45" fmla="*/ 0 h 736"/>
                  <a:gd name="T46" fmla="*/ 0 w 728"/>
                  <a:gd name="T47" fmla="*/ 0 h 736"/>
                  <a:gd name="T48" fmla="*/ 0 w 728"/>
                  <a:gd name="T49" fmla="*/ 0 h 736"/>
                  <a:gd name="T50" fmla="*/ 0 w 728"/>
                  <a:gd name="T51" fmla="*/ 0 h 736"/>
                  <a:gd name="T52" fmla="*/ 0 w 728"/>
                  <a:gd name="T53" fmla="*/ 0 h 736"/>
                  <a:gd name="T54" fmla="*/ 0 w 728"/>
                  <a:gd name="T55" fmla="*/ 0 h 736"/>
                  <a:gd name="T56" fmla="*/ 0 w 728"/>
                  <a:gd name="T57" fmla="*/ 0 h 736"/>
                  <a:gd name="T58" fmla="*/ 0 w 728"/>
                  <a:gd name="T59" fmla="*/ 0 h 736"/>
                  <a:gd name="T60" fmla="*/ 0 w 728"/>
                  <a:gd name="T61" fmla="*/ 0 h 736"/>
                  <a:gd name="T62" fmla="*/ 0 w 728"/>
                  <a:gd name="T63" fmla="*/ 0 h 736"/>
                  <a:gd name="T64" fmla="*/ 0 w 728"/>
                  <a:gd name="T65" fmla="*/ 0 h 736"/>
                  <a:gd name="T66" fmla="*/ 0 w 728"/>
                  <a:gd name="T67" fmla="*/ 0 h 736"/>
                  <a:gd name="T68" fmla="*/ 0 w 728"/>
                  <a:gd name="T69" fmla="*/ 0 h 736"/>
                  <a:gd name="T70" fmla="*/ 0 w 728"/>
                  <a:gd name="T71" fmla="*/ 0 h 736"/>
                  <a:gd name="T72" fmla="*/ 0 w 728"/>
                  <a:gd name="T73" fmla="*/ 0 h 736"/>
                  <a:gd name="T74" fmla="*/ 0 w 728"/>
                  <a:gd name="T75" fmla="*/ 0 h 736"/>
                  <a:gd name="T76" fmla="*/ 0 w 728"/>
                  <a:gd name="T77" fmla="*/ 0 h 736"/>
                  <a:gd name="T78" fmla="*/ 0 w 728"/>
                  <a:gd name="T79" fmla="*/ 0 h 736"/>
                  <a:gd name="T80" fmla="*/ 0 w 728"/>
                  <a:gd name="T81" fmla="*/ 0 h 736"/>
                  <a:gd name="T82" fmla="*/ 0 w 728"/>
                  <a:gd name="T83" fmla="*/ 0 h 736"/>
                  <a:gd name="T84" fmla="*/ 0 w 728"/>
                  <a:gd name="T85" fmla="*/ 0 h 736"/>
                  <a:gd name="T86" fmla="*/ 0 w 728"/>
                  <a:gd name="T87" fmla="*/ 0 h 736"/>
                  <a:gd name="T88" fmla="*/ 0 w 728"/>
                  <a:gd name="T89" fmla="*/ 0 h 736"/>
                  <a:gd name="T90" fmla="*/ 0 w 728"/>
                  <a:gd name="T91" fmla="*/ 0 h 736"/>
                  <a:gd name="T92" fmla="*/ 0 w 728"/>
                  <a:gd name="T93" fmla="*/ 0 h 736"/>
                  <a:gd name="T94" fmla="*/ 0 w 728"/>
                  <a:gd name="T95" fmla="*/ 0 h 736"/>
                  <a:gd name="T96" fmla="*/ 0 w 728"/>
                  <a:gd name="T97" fmla="*/ 0 h 736"/>
                  <a:gd name="T98" fmla="*/ 0 w 728"/>
                  <a:gd name="T99" fmla="*/ 0 h 736"/>
                  <a:gd name="T100" fmla="*/ 0 w 728"/>
                  <a:gd name="T101" fmla="*/ 0 h 736"/>
                  <a:gd name="T102" fmla="*/ 0 w 728"/>
                  <a:gd name="T103" fmla="*/ 0 h 736"/>
                  <a:gd name="T104" fmla="*/ 0 w 728"/>
                  <a:gd name="T105" fmla="*/ 0 h 736"/>
                  <a:gd name="T106" fmla="*/ 0 w 728"/>
                  <a:gd name="T107" fmla="*/ 0 h 736"/>
                  <a:gd name="T108" fmla="*/ 0 w 728"/>
                  <a:gd name="T109" fmla="*/ 0 h 736"/>
                  <a:gd name="T110" fmla="*/ 0 w 728"/>
                  <a:gd name="T111" fmla="*/ 0 h 7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36"/>
                  <a:gd name="T170" fmla="*/ 728 w 728"/>
                  <a:gd name="T171" fmla="*/ 736 h 7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36">
                    <a:moveTo>
                      <a:pt x="340" y="630"/>
                    </a:moveTo>
                    <a:lnTo>
                      <a:pt x="266" y="502"/>
                    </a:lnTo>
                    <a:lnTo>
                      <a:pt x="234" y="502"/>
                    </a:lnTo>
                    <a:lnTo>
                      <a:pt x="234" y="424"/>
                    </a:lnTo>
                    <a:lnTo>
                      <a:pt x="128" y="368"/>
                    </a:lnTo>
                    <a:lnTo>
                      <a:pt x="108" y="340"/>
                    </a:lnTo>
                    <a:lnTo>
                      <a:pt x="24" y="306"/>
                    </a:lnTo>
                    <a:lnTo>
                      <a:pt x="22" y="264"/>
                    </a:lnTo>
                    <a:lnTo>
                      <a:pt x="0" y="252"/>
                    </a:lnTo>
                    <a:lnTo>
                      <a:pt x="2" y="228"/>
                    </a:lnTo>
                    <a:lnTo>
                      <a:pt x="42" y="240"/>
                    </a:lnTo>
                    <a:lnTo>
                      <a:pt x="26" y="200"/>
                    </a:lnTo>
                    <a:lnTo>
                      <a:pt x="64" y="160"/>
                    </a:lnTo>
                    <a:lnTo>
                      <a:pt x="50" y="148"/>
                    </a:lnTo>
                    <a:lnTo>
                      <a:pt x="52" y="114"/>
                    </a:lnTo>
                    <a:lnTo>
                      <a:pt x="86" y="100"/>
                    </a:lnTo>
                    <a:lnTo>
                      <a:pt x="150" y="88"/>
                    </a:lnTo>
                    <a:lnTo>
                      <a:pt x="200" y="0"/>
                    </a:lnTo>
                    <a:lnTo>
                      <a:pt x="252" y="4"/>
                    </a:lnTo>
                    <a:lnTo>
                      <a:pt x="298" y="20"/>
                    </a:lnTo>
                    <a:lnTo>
                      <a:pt x="322" y="26"/>
                    </a:lnTo>
                    <a:lnTo>
                      <a:pt x="336" y="40"/>
                    </a:lnTo>
                    <a:lnTo>
                      <a:pt x="334" y="82"/>
                    </a:lnTo>
                    <a:lnTo>
                      <a:pt x="362" y="70"/>
                    </a:lnTo>
                    <a:lnTo>
                      <a:pt x="396" y="86"/>
                    </a:lnTo>
                    <a:lnTo>
                      <a:pt x="430" y="74"/>
                    </a:lnTo>
                    <a:lnTo>
                      <a:pt x="428" y="104"/>
                    </a:lnTo>
                    <a:lnTo>
                      <a:pt x="460" y="144"/>
                    </a:lnTo>
                    <a:lnTo>
                      <a:pt x="490" y="154"/>
                    </a:lnTo>
                    <a:lnTo>
                      <a:pt x="514" y="176"/>
                    </a:lnTo>
                    <a:lnTo>
                      <a:pt x="538" y="190"/>
                    </a:lnTo>
                    <a:lnTo>
                      <a:pt x="578" y="186"/>
                    </a:lnTo>
                    <a:lnTo>
                      <a:pt x="626" y="162"/>
                    </a:lnTo>
                    <a:lnTo>
                      <a:pt x="634" y="202"/>
                    </a:lnTo>
                    <a:lnTo>
                      <a:pt x="608" y="236"/>
                    </a:lnTo>
                    <a:lnTo>
                      <a:pt x="610" y="296"/>
                    </a:lnTo>
                    <a:lnTo>
                      <a:pt x="620" y="280"/>
                    </a:lnTo>
                    <a:lnTo>
                      <a:pt x="664" y="280"/>
                    </a:lnTo>
                    <a:lnTo>
                      <a:pt x="696" y="290"/>
                    </a:lnTo>
                    <a:lnTo>
                      <a:pt x="696" y="346"/>
                    </a:lnTo>
                    <a:lnTo>
                      <a:pt x="728" y="382"/>
                    </a:lnTo>
                    <a:lnTo>
                      <a:pt x="718" y="430"/>
                    </a:lnTo>
                    <a:lnTo>
                      <a:pt x="678" y="424"/>
                    </a:lnTo>
                    <a:lnTo>
                      <a:pt x="612" y="440"/>
                    </a:lnTo>
                    <a:lnTo>
                      <a:pt x="600" y="476"/>
                    </a:lnTo>
                    <a:lnTo>
                      <a:pt x="526" y="504"/>
                    </a:lnTo>
                    <a:lnTo>
                      <a:pt x="458" y="574"/>
                    </a:lnTo>
                    <a:lnTo>
                      <a:pt x="424" y="610"/>
                    </a:lnTo>
                    <a:lnTo>
                      <a:pt x="424" y="720"/>
                    </a:lnTo>
                    <a:lnTo>
                      <a:pt x="406" y="736"/>
                    </a:lnTo>
                    <a:lnTo>
                      <a:pt x="378" y="728"/>
                    </a:lnTo>
                    <a:lnTo>
                      <a:pt x="378" y="688"/>
                    </a:lnTo>
                    <a:lnTo>
                      <a:pt x="396" y="660"/>
                    </a:lnTo>
                    <a:lnTo>
                      <a:pt x="398" y="628"/>
                    </a:lnTo>
                    <a:lnTo>
                      <a:pt x="380" y="606"/>
                    </a:lnTo>
                    <a:lnTo>
                      <a:pt x="340" y="63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80" name="Group 80"/>
            <p:cNvGrpSpPr>
              <a:grpSpLocks/>
            </p:cNvGrpSpPr>
            <p:nvPr/>
          </p:nvGrpSpPr>
          <p:grpSpPr bwMode="auto">
            <a:xfrm>
              <a:off x="2673" y="3116"/>
              <a:ext cx="1068" cy="819"/>
              <a:chOff x="2484" y="3438"/>
              <a:chExt cx="1068" cy="826"/>
            </a:xfrm>
          </p:grpSpPr>
          <p:sp>
            <p:nvSpPr>
              <p:cNvPr id="29819" name="Freeform 81"/>
              <p:cNvSpPr>
                <a:spLocks/>
              </p:cNvSpPr>
              <p:nvPr/>
            </p:nvSpPr>
            <p:spPr bwMode="auto">
              <a:xfrm>
                <a:off x="2796" y="3438"/>
                <a:ext cx="418" cy="284"/>
              </a:xfrm>
              <a:custGeom>
                <a:avLst/>
                <a:gdLst>
                  <a:gd name="T0" fmla="*/ 0 w 1003"/>
                  <a:gd name="T1" fmla="*/ 0 h 823"/>
                  <a:gd name="T2" fmla="*/ 0 w 1003"/>
                  <a:gd name="T3" fmla="*/ 0 h 823"/>
                  <a:gd name="T4" fmla="*/ 0 w 1003"/>
                  <a:gd name="T5" fmla="*/ 0 h 823"/>
                  <a:gd name="T6" fmla="*/ 0 w 1003"/>
                  <a:gd name="T7" fmla="*/ 0 h 823"/>
                  <a:gd name="T8" fmla="*/ 0 w 1003"/>
                  <a:gd name="T9" fmla="*/ 0 h 823"/>
                  <a:gd name="T10" fmla="*/ 0 w 1003"/>
                  <a:gd name="T11" fmla="*/ 0 h 823"/>
                  <a:gd name="T12" fmla="*/ 0 w 1003"/>
                  <a:gd name="T13" fmla="*/ 0 h 823"/>
                  <a:gd name="T14" fmla="*/ 0 w 1003"/>
                  <a:gd name="T15" fmla="*/ 0 h 823"/>
                  <a:gd name="T16" fmla="*/ 0 w 1003"/>
                  <a:gd name="T17" fmla="*/ 0 h 823"/>
                  <a:gd name="T18" fmla="*/ 0 w 1003"/>
                  <a:gd name="T19" fmla="*/ 0 h 823"/>
                  <a:gd name="T20" fmla="*/ 0 w 1003"/>
                  <a:gd name="T21" fmla="*/ 0 h 823"/>
                  <a:gd name="T22" fmla="*/ 0 w 1003"/>
                  <a:gd name="T23" fmla="*/ 0 h 823"/>
                  <a:gd name="T24" fmla="*/ 0 w 1003"/>
                  <a:gd name="T25" fmla="*/ 0 h 823"/>
                  <a:gd name="T26" fmla="*/ 0 w 1003"/>
                  <a:gd name="T27" fmla="*/ 0 h 823"/>
                  <a:gd name="T28" fmla="*/ 0 w 1003"/>
                  <a:gd name="T29" fmla="*/ 0 h 823"/>
                  <a:gd name="T30" fmla="*/ 0 w 1003"/>
                  <a:gd name="T31" fmla="*/ 0 h 823"/>
                  <a:gd name="T32" fmla="*/ 0 w 1003"/>
                  <a:gd name="T33" fmla="*/ 0 h 823"/>
                  <a:gd name="T34" fmla="*/ 0 w 1003"/>
                  <a:gd name="T35" fmla="*/ 0 h 823"/>
                  <a:gd name="T36" fmla="*/ 0 w 1003"/>
                  <a:gd name="T37" fmla="*/ 0 h 823"/>
                  <a:gd name="T38" fmla="*/ 0 w 1003"/>
                  <a:gd name="T39" fmla="*/ 0 h 823"/>
                  <a:gd name="T40" fmla="*/ 0 w 1003"/>
                  <a:gd name="T41" fmla="*/ 0 h 823"/>
                  <a:gd name="T42" fmla="*/ 0 w 1003"/>
                  <a:gd name="T43" fmla="*/ 0 h 823"/>
                  <a:gd name="T44" fmla="*/ 0 w 1003"/>
                  <a:gd name="T45" fmla="*/ 0 h 823"/>
                  <a:gd name="T46" fmla="*/ 0 w 1003"/>
                  <a:gd name="T47" fmla="*/ 0 h 823"/>
                  <a:gd name="T48" fmla="*/ 0 w 1003"/>
                  <a:gd name="T49" fmla="*/ 0 h 823"/>
                  <a:gd name="T50" fmla="*/ 0 w 1003"/>
                  <a:gd name="T51" fmla="*/ 0 h 823"/>
                  <a:gd name="T52" fmla="*/ 0 w 1003"/>
                  <a:gd name="T53" fmla="*/ 0 h 823"/>
                  <a:gd name="T54" fmla="*/ 0 w 1003"/>
                  <a:gd name="T55" fmla="*/ 0 h 823"/>
                  <a:gd name="T56" fmla="*/ 0 w 1003"/>
                  <a:gd name="T57" fmla="*/ 0 h 823"/>
                  <a:gd name="T58" fmla="*/ 0 w 1003"/>
                  <a:gd name="T59" fmla="*/ 0 h 823"/>
                  <a:gd name="T60" fmla="*/ 0 w 1003"/>
                  <a:gd name="T61" fmla="*/ 0 h 823"/>
                  <a:gd name="T62" fmla="*/ 0 w 1003"/>
                  <a:gd name="T63" fmla="*/ 0 h 823"/>
                  <a:gd name="T64" fmla="*/ 0 w 1003"/>
                  <a:gd name="T65" fmla="*/ 0 h 8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03"/>
                  <a:gd name="T100" fmla="*/ 0 h 823"/>
                  <a:gd name="T101" fmla="*/ 1003 w 1003"/>
                  <a:gd name="T102" fmla="*/ 823 h 82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03" h="823">
                    <a:moveTo>
                      <a:pt x="481" y="715"/>
                    </a:moveTo>
                    <a:cubicBezTo>
                      <a:pt x="490" y="718"/>
                      <a:pt x="498" y="713"/>
                      <a:pt x="511" y="713"/>
                    </a:cubicBezTo>
                    <a:cubicBezTo>
                      <a:pt x="524" y="713"/>
                      <a:pt x="549" y="710"/>
                      <a:pt x="559" y="713"/>
                    </a:cubicBezTo>
                    <a:cubicBezTo>
                      <a:pt x="569" y="716"/>
                      <a:pt x="565" y="731"/>
                      <a:pt x="571" y="733"/>
                    </a:cubicBezTo>
                    <a:cubicBezTo>
                      <a:pt x="577" y="735"/>
                      <a:pt x="586" y="723"/>
                      <a:pt x="593" y="723"/>
                    </a:cubicBezTo>
                    <a:cubicBezTo>
                      <a:pt x="600" y="723"/>
                      <a:pt x="608" y="726"/>
                      <a:pt x="611" y="733"/>
                    </a:cubicBezTo>
                    <a:cubicBezTo>
                      <a:pt x="614" y="740"/>
                      <a:pt x="601" y="759"/>
                      <a:pt x="611" y="767"/>
                    </a:cubicBezTo>
                    <a:cubicBezTo>
                      <a:pt x="621" y="775"/>
                      <a:pt x="659" y="774"/>
                      <a:pt x="671" y="783"/>
                    </a:cubicBezTo>
                    <a:cubicBezTo>
                      <a:pt x="683" y="792"/>
                      <a:pt x="678" y="815"/>
                      <a:pt x="685" y="819"/>
                    </a:cubicBezTo>
                    <a:cubicBezTo>
                      <a:pt x="692" y="823"/>
                      <a:pt x="707" y="814"/>
                      <a:pt x="715" y="809"/>
                    </a:cubicBezTo>
                    <a:cubicBezTo>
                      <a:pt x="723" y="804"/>
                      <a:pt x="721" y="791"/>
                      <a:pt x="731" y="787"/>
                    </a:cubicBezTo>
                    <a:cubicBezTo>
                      <a:pt x="741" y="783"/>
                      <a:pt x="766" y="790"/>
                      <a:pt x="773" y="787"/>
                    </a:cubicBezTo>
                    <a:cubicBezTo>
                      <a:pt x="780" y="784"/>
                      <a:pt x="769" y="775"/>
                      <a:pt x="773" y="769"/>
                    </a:cubicBezTo>
                    <a:cubicBezTo>
                      <a:pt x="777" y="763"/>
                      <a:pt x="795" y="756"/>
                      <a:pt x="799" y="749"/>
                    </a:cubicBezTo>
                    <a:cubicBezTo>
                      <a:pt x="803" y="742"/>
                      <a:pt x="796" y="728"/>
                      <a:pt x="799" y="727"/>
                    </a:cubicBezTo>
                    <a:cubicBezTo>
                      <a:pt x="802" y="726"/>
                      <a:pt x="812" y="739"/>
                      <a:pt x="819" y="741"/>
                    </a:cubicBezTo>
                    <a:cubicBezTo>
                      <a:pt x="826" y="743"/>
                      <a:pt x="838" y="741"/>
                      <a:pt x="841" y="737"/>
                    </a:cubicBezTo>
                    <a:cubicBezTo>
                      <a:pt x="844" y="733"/>
                      <a:pt x="831" y="719"/>
                      <a:pt x="837" y="715"/>
                    </a:cubicBezTo>
                    <a:cubicBezTo>
                      <a:pt x="843" y="711"/>
                      <a:pt x="869" y="712"/>
                      <a:pt x="875" y="715"/>
                    </a:cubicBezTo>
                    <a:cubicBezTo>
                      <a:pt x="881" y="718"/>
                      <a:pt x="867" y="727"/>
                      <a:pt x="875" y="735"/>
                    </a:cubicBezTo>
                    <a:cubicBezTo>
                      <a:pt x="883" y="743"/>
                      <a:pt x="911" y="759"/>
                      <a:pt x="921" y="763"/>
                    </a:cubicBezTo>
                    <a:cubicBezTo>
                      <a:pt x="931" y="767"/>
                      <a:pt x="932" y="765"/>
                      <a:pt x="935" y="759"/>
                    </a:cubicBezTo>
                    <a:cubicBezTo>
                      <a:pt x="938" y="753"/>
                      <a:pt x="933" y="742"/>
                      <a:pt x="937" y="729"/>
                    </a:cubicBezTo>
                    <a:cubicBezTo>
                      <a:pt x="941" y="716"/>
                      <a:pt x="947" y="695"/>
                      <a:pt x="957" y="679"/>
                    </a:cubicBezTo>
                    <a:cubicBezTo>
                      <a:pt x="967" y="663"/>
                      <a:pt x="1003" y="663"/>
                      <a:pt x="997" y="635"/>
                    </a:cubicBezTo>
                    <a:cubicBezTo>
                      <a:pt x="991" y="607"/>
                      <a:pt x="939" y="534"/>
                      <a:pt x="921" y="513"/>
                    </a:cubicBezTo>
                    <a:cubicBezTo>
                      <a:pt x="903" y="492"/>
                      <a:pt x="895" y="522"/>
                      <a:pt x="889" y="509"/>
                    </a:cubicBezTo>
                    <a:cubicBezTo>
                      <a:pt x="883" y="496"/>
                      <a:pt x="902" y="456"/>
                      <a:pt x="885" y="435"/>
                    </a:cubicBezTo>
                    <a:cubicBezTo>
                      <a:pt x="868" y="414"/>
                      <a:pt x="809" y="395"/>
                      <a:pt x="789" y="381"/>
                    </a:cubicBezTo>
                    <a:cubicBezTo>
                      <a:pt x="769" y="367"/>
                      <a:pt x="782" y="361"/>
                      <a:pt x="765" y="351"/>
                    </a:cubicBezTo>
                    <a:cubicBezTo>
                      <a:pt x="748" y="341"/>
                      <a:pt x="702" y="332"/>
                      <a:pt x="687" y="319"/>
                    </a:cubicBezTo>
                    <a:cubicBezTo>
                      <a:pt x="672" y="306"/>
                      <a:pt x="682" y="282"/>
                      <a:pt x="677" y="273"/>
                    </a:cubicBezTo>
                    <a:cubicBezTo>
                      <a:pt x="672" y="264"/>
                      <a:pt x="660" y="271"/>
                      <a:pt x="657" y="265"/>
                    </a:cubicBezTo>
                    <a:cubicBezTo>
                      <a:pt x="654" y="259"/>
                      <a:pt x="650" y="241"/>
                      <a:pt x="657" y="239"/>
                    </a:cubicBezTo>
                    <a:cubicBezTo>
                      <a:pt x="664" y="237"/>
                      <a:pt x="693" y="258"/>
                      <a:pt x="697" y="253"/>
                    </a:cubicBezTo>
                    <a:cubicBezTo>
                      <a:pt x="701" y="248"/>
                      <a:pt x="680" y="225"/>
                      <a:pt x="683" y="211"/>
                    </a:cubicBezTo>
                    <a:cubicBezTo>
                      <a:pt x="686" y="197"/>
                      <a:pt x="716" y="184"/>
                      <a:pt x="713" y="169"/>
                    </a:cubicBezTo>
                    <a:cubicBezTo>
                      <a:pt x="710" y="154"/>
                      <a:pt x="692" y="137"/>
                      <a:pt x="663" y="123"/>
                    </a:cubicBezTo>
                    <a:cubicBezTo>
                      <a:pt x="634" y="109"/>
                      <a:pt x="568" y="105"/>
                      <a:pt x="539" y="87"/>
                    </a:cubicBezTo>
                    <a:cubicBezTo>
                      <a:pt x="510" y="69"/>
                      <a:pt x="511" y="29"/>
                      <a:pt x="491" y="15"/>
                    </a:cubicBezTo>
                    <a:cubicBezTo>
                      <a:pt x="471" y="1"/>
                      <a:pt x="436" y="0"/>
                      <a:pt x="421" y="3"/>
                    </a:cubicBezTo>
                    <a:cubicBezTo>
                      <a:pt x="406" y="6"/>
                      <a:pt x="413" y="23"/>
                      <a:pt x="401" y="31"/>
                    </a:cubicBezTo>
                    <a:cubicBezTo>
                      <a:pt x="389" y="39"/>
                      <a:pt x="364" y="38"/>
                      <a:pt x="351" y="49"/>
                    </a:cubicBezTo>
                    <a:cubicBezTo>
                      <a:pt x="338" y="60"/>
                      <a:pt x="343" y="88"/>
                      <a:pt x="323" y="97"/>
                    </a:cubicBezTo>
                    <a:cubicBezTo>
                      <a:pt x="303" y="106"/>
                      <a:pt x="250" y="103"/>
                      <a:pt x="231" y="101"/>
                    </a:cubicBezTo>
                    <a:cubicBezTo>
                      <a:pt x="212" y="99"/>
                      <a:pt x="224" y="82"/>
                      <a:pt x="207" y="87"/>
                    </a:cubicBezTo>
                    <a:cubicBezTo>
                      <a:pt x="190" y="92"/>
                      <a:pt x="142" y="116"/>
                      <a:pt x="127" y="131"/>
                    </a:cubicBezTo>
                    <a:cubicBezTo>
                      <a:pt x="112" y="146"/>
                      <a:pt x="128" y="156"/>
                      <a:pt x="117" y="175"/>
                    </a:cubicBezTo>
                    <a:cubicBezTo>
                      <a:pt x="106" y="194"/>
                      <a:pt x="70" y="222"/>
                      <a:pt x="59" y="243"/>
                    </a:cubicBezTo>
                    <a:cubicBezTo>
                      <a:pt x="48" y="264"/>
                      <a:pt x="58" y="283"/>
                      <a:pt x="49" y="299"/>
                    </a:cubicBezTo>
                    <a:cubicBezTo>
                      <a:pt x="40" y="315"/>
                      <a:pt x="10" y="330"/>
                      <a:pt x="5" y="341"/>
                    </a:cubicBezTo>
                    <a:cubicBezTo>
                      <a:pt x="0" y="352"/>
                      <a:pt x="9" y="359"/>
                      <a:pt x="17" y="363"/>
                    </a:cubicBezTo>
                    <a:cubicBezTo>
                      <a:pt x="25" y="367"/>
                      <a:pt x="43" y="354"/>
                      <a:pt x="53" y="365"/>
                    </a:cubicBezTo>
                    <a:cubicBezTo>
                      <a:pt x="63" y="376"/>
                      <a:pt x="68" y="415"/>
                      <a:pt x="75" y="427"/>
                    </a:cubicBezTo>
                    <a:cubicBezTo>
                      <a:pt x="82" y="439"/>
                      <a:pt x="86" y="409"/>
                      <a:pt x="95" y="439"/>
                    </a:cubicBezTo>
                    <a:cubicBezTo>
                      <a:pt x="104" y="469"/>
                      <a:pt x="107" y="577"/>
                      <a:pt x="131" y="607"/>
                    </a:cubicBezTo>
                    <a:cubicBezTo>
                      <a:pt x="155" y="637"/>
                      <a:pt x="215" y="614"/>
                      <a:pt x="239" y="619"/>
                    </a:cubicBezTo>
                    <a:cubicBezTo>
                      <a:pt x="263" y="624"/>
                      <a:pt x="257" y="635"/>
                      <a:pt x="277" y="639"/>
                    </a:cubicBezTo>
                    <a:cubicBezTo>
                      <a:pt x="297" y="643"/>
                      <a:pt x="342" y="645"/>
                      <a:pt x="357" y="641"/>
                    </a:cubicBezTo>
                    <a:cubicBezTo>
                      <a:pt x="372" y="637"/>
                      <a:pt x="363" y="624"/>
                      <a:pt x="367" y="617"/>
                    </a:cubicBezTo>
                    <a:cubicBezTo>
                      <a:pt x="371" y="610"/>
                      <a:pt x="368" y="607"/>
                      <a:pt x="379" y="597"/>
                    </a:cubicBezTo>
                    <a:cubicBezTo>
                      <a:pt x="390" y="587"/>
                      <a:pt x="415" y="560"/>
                      <a:pt x="431" y="559"/>
                    </a:cubicBezTo>
                    <a:cubicBezTo>
                      <a:pt x="447" y="558"/>
                      <a:pt x="467" y="583"/>
                      <a:pt x="475" y="591"/>
                    </a:cubicBezTo>
                    <a:cubicBezTo>
                      <a:pt x="483" y="599"/>
                      <a:pt x="484" y="588"/>
                      <a:pt x="481" y="605"/>
                    </a:cubicBezTo>
                    <a:cubicBezTo>
                      <a:pt x="478" y="622"/>
                      <a:pt x="456" y="674"/>
                      <a:pt x="455" y="693"/>
                    </a:cubicBezTo>
                    <a:cubicBezTo>
                      <a:pt x="454" y="712"/>
                      <a:pt x="472" y="713"/>
                      <a:pt x="481" y="715"/>
                    </a:cubicBez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20" name="Freeform 82"/>
              <p:cNvSpPr>
                <a:spLocks/>
              </p:cNvSpPr>
              <p:nvPr/>
            </p:nvSpPr>
            <p:spPr bwMode="auto">
              <a:xfrm>
                <a:off x="2931" y="3684"/>
                <a:ext cx="621" cy="263"/>
              </a:xfrm>
              <a:custGeom>
                <a:avLst/>
                <a:gdLst>
                  <a:gd name="T0" fmla="*/ 0 w 1488"/>
                  <a:gd name="T1" fmla="*/ 0 h 764"/>
                  <a:gd name="T2" fmla="*/ 0 w 1488"/>
                  <a:gd name="T3" fmla="*/ 0 h 764"/>
                  <a:gd name="T4" fmla="*/ 0 w 1488"/>
                  <a:gd name="T5" fmla="*/ 0 h 764"/>
                  <a:gd name="T6" fmla="*/ 0 w 1488"/>
                  <a:gd name="T7" fmla="*/ 0 h 764"/>
                  <a:gd name="T8" fmla="*/ 0 w 1488"/>
                  <a:gd name="T9" fmla="*/ 0 h 764"/>
                  <a:gd name="T10" fmla="*/ 0 w 1488"/>
                  <a:gd name="T11" fmla="*/ 0 h 764"/>
                  <a:gd name="T12" fmla="*/ 0 w 1488"/>
                  <a:gd name="T13" fmla="*/ 0 h 764"/>
                  <a:gd name="T14" fmla="*/ 0 w 1488"/>
                  <a:gd name="T15" fmla="*/ 0 h 764"/>
                  <a:gd name="T16" fmla="*/ 0 w 1488"/>
                  <a:gd name="T17" fmla="*/ 0 h 764"/>
                  <a:gd name="T18" fmla="*/ 0 w 1488"/>
                  <a:gd name="T19" fmla="*/ 0 h 764"/>
                  <a:gd name="T20" fmla="*/ 0 w 1488"/>
                  <a:gd name="T21" fmla="*/ 0 h 764"/>
                  <a:gd name="T22" fmla="*/ 0 w 1488"/>
                  <a:gd name="T23" fmla="*/ 0 h 764"/>
                  <a:gd name="T24" fmla="*/ 0 w 1488"/>
                  <a:gd name="T25" fmla="*/ 0 h 764"/>
                  <a:gd name="T26" fmla="*/ 0 w 1488"/>
                  <a:gd name="T27" fmla="*/ 0 h 764"/>
                  <a:gd name="T28" fmla="*/ 0 w 1488"/>
                  <a:gd name="T29" fmla="*/ 0 h 764"/>
                  <a:gd name="T30" fmla="*/ 0 w 1488"/>
                  <a:gd name="T31" fmla="*/ 0 h 764"/>
                  <a:gd name="T32" fmla="*/ 0 w 1488"/>
                  <a:gd name="T33" fmla="*/ 0 h 764"/>
                  <a:gd name="T34" fmla="*/ 0 w 1488"/>
                  <a:gd name="T35" fmla="*/ 0 h 764"/>
                  <a:gd name="T36" fmla="*/ 0 w 1488"/>
                  <a:gd name="T37" fmla="*/ 0 h 764"/>
                  <a:gd name="T38" fmla="*/ 0 w 1488"/>
                  <a:gd name="T39" fmla="*/ 0 h 764"/>
                  <a:gd name="T40" fmla="*/ 0 w 1488"/>
                  <a:gd name="T41" fmla="*/ 0 h 764"/>
                  <a:gd name="T42" fmla="*/ 0 w 1488"/>
                  <a:gd name="T43" fmla="*/ 0 h 764"/>
                  <a:gd name="T44" fmla="*/ 0 w 1488"/>
                  <a:gd name="T45" fmla="*/ 0 h 764"/>
                  <a:gd name="T46" fmla="*/ 0 w 1488"/>
                  <a:gd name="T47" fmla="*/ 0 h 764"/>
                  <a:gd name="T48" fmla="*/ 0 w 1488"/>
                  <a:gd name="T49" fmla="*/ 0 h 764"/>
                  <a:gd name="T50" fmla="*/ 0 w 1488"/>
                  <a:gd name="T51" fmla="*/ 0 h 764"/>
                  <a:gd name="T52" fmla="*/ 0 w 1488"/>
                  <a:gd name="T53" fmla="*/ 0 h 764"/>
                  <a:gd name="T54" fmla="*/ 0 w 1488"/>
                  <a:gd name="T55" fmla="*/ 0 h 764"/>
                  <a:gd name="T56" fmla="*/ 0 w 1488"/>
                  <a:gd name="T57" fmla="*/ 0 h 764"/>
                  <a:gd name="T58" fmla="*/ 0 w 1488"/>
                  <a:gd name="T59" fmla="*/ 0 h 764"/>
                  <a:gd name="T60" fmla="*/ 0 w 1488"/>
                  <a:gd name="T61" fmla="*/ 0 h 764"/>
                  <a:gd name="T62" fmla="*/ 0 w 1488"/>
                  <a:gd name="T63" fmla="*/ 0 h 764"/>
                  <a:gd name="T64" fmla="*/ 0 w 1488"/>
                  <a:gd name="T65" fmla="*/ 0 h 764"/>
                  <a:gd name="T66" fmla="*/ 0 w 1488"/>
                  <a:gd name="T67" fmla="*/ 0 h 764"/>
                  <a:gd name="T68" fmla="*/ 0 w 1488"/>
                  <a:gd name="T69" fmla="*/ 0 h 764"/>
                  <a:gd name="T70" fmla="*/ 0 w 1488"/>
                  <a:gd name="T71" fmla="*/ 0 h 764"/>
                  <a:gd name="T72" fmla="*/ 0 w 1488"/>
                  <a:gd name="T73" fmla="*/ 0 h 764"/>
                  <a:gd name="T74" fmla="*/ 0 w 1488"/>
                  <a:gd name="T75" fmla="*/ 0 h 764"/>
                  <a:gd name="T76" fmla="*/ 0 w 1488"/>
                  <a:gd name="T77" fmla="*/ 0 h 764"/>
                  <a:gd name="T78" fmla="*/ 0 w 1488"/>
                  <a:gd name="T79" fmla="*/ 0 h 764"/>
                  <a:gd name="T80" fmla="*/ 0 w 1488"/>
                  <a:gd name="T81" fmla="*/ 0 h 764"/>
                  <a:gd name="T82" fmla="*/ 0 w 1488"/>
                  <a:gd name="T83" fmla="*/ 0 h 764"/>
                  <a:gd name="T84" fmla="*/ 0 w 1488"/>
                  <a:gd name="T85" fmla="*/ 0 h 764"/>
                  <a:gd name="T86" fmla="*/ 0 w 1488"/>
                  <a:gd name="T87" fmla="*/ 0 h 764"/>
                  <a:gd name="T88" fmla="*/ 0 w 1488"/>
                  <a:gd name="T89" fmla="*/ 0 h 764"/>
                  <a:gd name="T90" fmla="*/ 0 w 1488"/>
                  <a:gd name="T91" fmla="*/ 0 h 76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88"/>
                  <a:gd name="T139" fmla="*/ 0 h 764"/>
                  <a:gd name="T140" fmla="*/ 1488 w 1488"/>
                  <a:gd name="T141" fmla="*/ 764 h 76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88" h="764">
                    <a:moveTo>
                      <a:pt x="852" y="186"/>
                    </a:moveTo>
                    <a:lnTo>
                      <a:pt x="862" y="152"/>
                    </a:lnTo>
                    <a:lnTo>
                      <a:pt x="868" y="124"/>
                    </a:lnTo>
                    <a:lnTo>
                      <a:pt x="882" y="100"/>
                    </a:lnTo>
                    <a:lnTo>
                      <a:pt x="860" y="76"/>
                    </a:lnTo>
                    <a:lnTo>
                      <a:pt x="818" y="40"/>
                    </a:lnTo>
                    <a:lnTo>
                      <a:pt x="788" y="54"/>
                    </a:lnTo>
                    <a:lnTo>
                      <a:pt x="756" y="62"/>
                    </a:lnTo>
                    <a:lnTo>
                      <a:pt x="718" y="70"/>
                    </a:lnTo>
                    <a:lnTo>
                      <a:pt x="706" y="48"/>
                    </a:lnTo>
                    <a:lnTo>
                      <a:pt x="660" y="68"/>
                    </a:lnTo>
                    <a:lnTo>
                      <a:pt x="648" y="32"/>
                    </a:lnTo>
                    <a:lnTo>
                      <a:pt x="616" y="4"/>
                    </a:lnTo>
                    <a:lnTo>
                      <a:pt x="608" y="34"/>
                    </a:lnTo>
                    <a:lnTo>
                      <a:pt x="606" y="48"/>
                    </a:lnTo>
                    <a:lnTo>
                      <a:pt x="544" y="22"/>
                    </a:lnTo>
                    <a:lnTo>
                      <a:pt x="546" y="0"/>
                    </a:lnTo>
                    <a:lnTo>
                      <a:pt x="510" y="0"/>
                    </a:lnTo>
                    <a:lnTo>
                      <a:pt x="516" y="22"/>
                    </a:lnTo>
                    <a:lnTo>
                      <a:pt x="502" y="30"/>
                    </a:lnTo>
                    <a:lnTo>
                      <a:pt x="474" y="16"/>
                    </a:lnTo>
                    <a:lnTo>
                      <a:pt x="474" y="40"/>
                    </a:lnTo>
                    <a:lnTo>
                      <a:pt x="444" y="54"/>
                    </a:lnTo>
                    <a:lnTo>
                      <a:pt x="452" y="74"/>
                    </a:lnTo>
                    <a:lnTo>
                      <a:pt x="400" y="76"/>
                    </a:lnTo>
                    <a:lnTo>
                      <a:pt x="386" y="96"/>
                    </a:lnTo>
                    <a:lnTo>
                      <a:pt x="358" y="106"/>
                    </a:lnTo>
                    <a:lnTo>
                      <a:pt x="348" y="66"/>
                    </a:lnTo>
                    <a:lnTo>
                      <a:pt x="278" y="56"/>
                    </a:lnTo>
                    <a:lnTo>
                      <a:pt x="248" y="54"/>
                    </a:lnTo>
                    <a:lnTo>
                      <a:pt x="204" y="92"/>
                    </a:lnTo>
                    <a:lnTo>
                      <a:pt x="130" y="98"/>
                    </a:lnTo>
                    <a:lnTo>
                      <a:pt x="142" y="126"/>
                    </a:lnTo>
                    <a:lnTo>
                      <a:pt x="176" y="176"/>
                    </a:lnTo>
                    <a:lnTo>
                      <a:pt x="186" y="208"/>
                    </a:lnTo>
                    <a:lnTo>
                      <a:pt x="210" y="232"/>
                    </a:lnTo>
                    <a:lnTo>
                      <a:pt x="226" y="212"/>
                    </a:lnTo>
                    <a:lnTo>
                      <a:pt x="286" y="250"/>
                    </a:lnTo>
                    <a:lnTo>
                      <a:pt x="320" y="302"/>
                    </a:lnTo>
                    <a:lnTo>
                      <a:pt x="298" y="312"/>
                    </a:lnTo>
                    <a:lnTo>
                      <a:pt x="284" y="286"/>
                    </a:lnTo>
                    <a:lnTo>
                      <a:pt x="150" y="250"/>
                    </a:lnTo>
                    <a:lnTo>
                      <a:pt x="84" y="222"/>
                    </a:lnTo>
                    <a:lnTo>
                      <a:pt x="16" y="204"/>
                    </a:lnTo>
                    <a:lnTo>
                      <a:pt x="0" y="222"/>
                    </a:lnTo>
                    <a:lnTo>
                      <a:pt x="48" y="238"/>
                    </a:lnTo>
                    <a:lnTo>
                      <a:pt x="136" y="266"/>
                    </a:lnTo>
                    <a:lnTo>
                      <a:pt x="168" y="292"/>
                    </a:lnTo>
                    <a:lnTo>
                      <a:pt x="226" y="296"/>
                    </a:lnTo>
                    <a:lnTo>
                      <a:pt x="408" y="430"/>
                    </a:lnTo>
                    <a:lnTo>
                      <a:pt x="418" y="450"/>
                    </a:lnTo>
                    <a:lnTo>
                      <a:pt x="464" y="448"/>
                    </a:lnTo>
                    <a:lnTo>
                      <a:pt x="470" y="420"/>
                    </a:lnTo>
                    <a:lnTo>
                      <a:pt x="600" y="510"/>
                    </a:lnTo>
                    <a:lnTo>
                      <a:pt x="646" y="524"/>
                    </a:lnTo>
                    <a:lnTo>
                      <a:pt x="616" y="586"/>
                    </a:lnTo>
                    <a:lnTo>
                      <a:pt x="604" y="560"/>
                    </a:lnTo>
                    <a:lnTo>
                      <a:pt x="572" y="564"/>
                    </a:lnTo>
                    <a:lnTo>
                      <a:pt x="590" y="616"/>
                    </a:lnTo>
                    <a:lnTo>
                      <a:pt x="612" y="664"/>
                    </a:lnTo>
                    <a:lnTo>
                      <a:pt x="660" y="666"/>
                    </a:lnTo>
                    <a:lnTo>
                      <a:pt x="692" y="680"/>
                    </a:lnTo>
                    <a:lnTo>
                      <a:pt x="736" y="680"/>
                    </a:lnTo>
                    <a:lnTo>
                      <a:pt x="738" y="658"/>
                    </a:lnTo>
                    <a:lnTo>
                      <a:pt x="784" y="654"/>
                    </a:lnTo>
                    <a:lnTo>
                      <a:pt x="794" y="678"/>
                    </a:lnTo>
                    <a:lnTo>
                      <a:pt x="772" y="692"/>
                    </a:lnTo>
                    <a:lnTo>
                      <a:pt x="824" y="706"/>
                    </a:lnTo>
                    <a:lnTo>
                      <a:pt x="816" y="722"/>
                    </a:lnTo>
                    <a:lnTo>
                      <a:pt x="832" y="754"/>
                    </a:lnTo>
                    <a:lnTo>
                      <a:pt x="896" y="764"/>
                    </a:lnTo>
                    <a:lnTo>
                      <a:pt x="956" y="728"/>
                    </a:lnTo>
                    <a:lnTo>
                      <a:pt x="998" y="678"/>
                    </a:lnTo>
                    <a:lnTo>
                      <a:pt x="1038" y="614"/>
                    </a:lnTo>
                    <a:lnTo>
                      <a:pt x="1076" y="560"/>
                    </a:lnTo>
                    <a:lnTo>
                      <a:pt x="1134" y="514"/>
                    </a:lnTo>
                    <a:lnTo>
                      <a:pt x="1208" y="500"/>
                    </a:lnTo>
                    <a:lnTo>
                      <a:pt x="1322" y="518"/>
                    </a:lnTo>
                    <a:lnTo>
                      <a:pt x="1448" y="554"/>
                    </a:lnTo>
                    <a:lnTo>
                      <a:pt x="1472" y="532"/>
                    </a:lnTo>
                    <a:lnTo>
                      <a:pt x="1488" y="476"/>
                    </a:lnTo>
                    <a:lnTo>
                      <a:pt x="1416" y="362"/>
                    </a:lnTo>
                    <a:lnTo>
                      <a:pt x="1332" y="324"/>
                    </a:lnTo>
                    <a:lnTo>
                      <a:pt x="1254" y="334"/>
                    </a:lnTo>
                    <a:lnTo>
                      <a:pt x="1210" y="314"/>
                    </a:lnTo>
                    <a:lnTo>
                      <a:pt x="1136" y="318"/>
                    </a:lnTo>
                    <a:lnTo>
                      <a:pt x="1094" y="324"/>
                    </a:lnTo>
                    <a:lnTo>
                      <a:pt x="1048" y="298"/>
                    </a:lnTo>
                    <a:lnTo>
                      <a:pt x="1024" y="262"/>
                    </a:lnTo>
                    <a:lnTo>
                      <a:pt x="1006" y="246"/>
                    </a:lnTo>
                    <a:lnTo>
                      <a:pt x="974" y="278"/>
                    </a:lnTo>
                    <a:lnTo>
                      <a:pt x="1040" y="352"/>
                    </a:lnTo>
                    <a:lnTo>
                      <a:pt x="1028" y="384"/>
                    </a:lnTo>
                    <a:lnTo>
                      <a:pt x="1026" y="422"/>
                    </a:lnTo>
                    <a:lnTo>
                      <a:pt x="1050" y="450"/>
                    </a:lnTo>
                    <a:lnTo>
                      <a:pt x="1092" y="438"/>
                    </a:lnTo>
                    <a:lnTo>
                      <a:pt x="1146" y="448"/>
                    </a:lnTo>
                    <a:lnTo>
                      <a:pt x="1124" y="458"/>
                    </a:lnTo>
                    <a:lnTo>
                      <a:pt x="1090" y="472"/>
                    </a:lnTo>
                    <a:lnTo>
                      <a:pt x="1068" y="490"/>
                    </a:lnTo>
                    <a:lnTo>
                      <a:pt x="1056" y="506"/>
                    </a:lnTo>
                    <a:lnTo>
                      <a:pt x="1030" y="506"/>
                    </a:lnTo>
                    <a:lnTo>
                      <a:pt x="1042" y="462"/>
                    </a:lnTo>
                    <a:lnTo>
                      <a:pt x="1006" y="458"/>
                    </a:lnTo>
                    <a:lnTo>
                      <a:pt x="944" y="494"/>
                    </a:lnTo>
                    <a:lnTo>
                      <a:pt x="892" y="456"/>
                    </a:lnTo>
                    <a:lnTo>
                      <a:pt x="872" y="456"/>
                    </a:lnTo>
                    <a:lnTo>
                      <a:pt x="860" y="464"/>
                    </a:lnTo>
                    <a:lnTo>
                      <a:pt x="880" y="490"/>
                    </a:lnTo>
                    <a:lnTo>
                      <a:pt x="814" y="508"/>
                    </a:lnTo>
                    <a:lnTo>
                      <a:pt x="798" y="538"/>
                    </a:lnTo>
                    <a:lnTo>
                      <a:pt x="806" y="572"/>
                    </a:lnTo>
                    <a:lnTo>
                      <a:pt x="822" y="572"/>
                    </a:lnTo>
                    <a:lnTo>
                      <a:pt x="818" y="592"/>
                    </a:lnTo>
                    <a:lnTo>
                      <a:pt x="800" y="620"/>
                    </a:lnTo>
                    <a:lnTo>
                      <a:pt x="780" y="648"/>
                    </a:lnTo>
                    <a:lnTo>
                      <a:pt x="738" y="648"/>
                    </a:lnTo>
                    <a:lnTo>
                      <a:pt x="738" y="630"/>
                    </a:lnTo>
                    <a:lnTo>
                      <a:pt x="678" y="596"/>
                    </a:lnTo>
                    <a:lnTo>
                      <a:pt x="622" y="612"/>
                    </a:lnTo>
                    <a:lnTo>
                      <a:pt x="622" y="596"/>
                    </a:lnTo>
                    <a:lnTo>
                      <a:pt x="660" y="524"/>
                    </a:lnTo>
                    <a:lnTo>
                      <a:pt x="682" y="526"/>
                    </a:lnTo>
                    <a:lnTo>
                      <a:pt x="740" y="486"/>
                    </a:lnTo>
                    <a:lnTo>
                      <a:pt x="778" y="458"/>
                    </a:lnTo>
                    <a:lnTo>
                      <a:pt x="822" y="434"/>
                    </a:lnTo>
                    <a:lnTo>
                      <a:pt x="860" y="432"/>
                    </a:lnTo>
                    <a:lnTo>
                      <a:pt x="888" y="394"/>
                    </a:lnTo>
                    <a:lnTo>
                      <a:pt x="862" y="376"/>
                    </a:lnTo>
                    <a:lnTo>
                      <a:pt x="818" y="322"/>
                    </a:lnTo>
                    <a:lnTo>
                      <a:pt x="810" y="300"/>
                    </a:lnTo>
                    <a:lnTo>
                      <a:pt x="812" y="276"/>
                    </a:lnTo>
                    <a:lnTo>
                      <a:pt x="794" y="264"/>
                    </a:lnTo>
                    <a:lnTo>
                      <a:pt x="782" y="228"/>
                    </a:lnTo>
                    <a:lnTo>
                      <a:pt x="784" y="212"/>
                    </a:lnTo>
                    <a:lnTo>
                      <a:pt x="758" y="180"/>
                    </a:lnTo>
                    <a:lnTo>
                      <a:pt x="790" y="192"/>
                    </a:lnTo>
                    <a:lnTo>
                      <a:pt x="852" y="18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21" name="Freeform 83"/>
              <p:cNvSpPr>
                <a:spLocks/>
              </p:cNvSpPr>
              <p:nvPr/>
            </p:nvSpPr>
            <p:spPr bwMode="auto">
              <a:xfrm>
                <a:off x="2879" y="3866"/>
                <a:ext cx="416" cy="398"/>
              </a:xfrm>
              <a:custGeom>
                <a:avLst/>
                <a:gdLst>
                  <a:gd name="T0" fmla="*/ 0 w 996"/>
                  <a:gd name="T1" fmla="*/ 0 h 1155"/>
                  <a:gd name="T2" fmla="*/ 0 w 996"/>
                  <a:gd name="T3" fmla="*/ 0 h 1155"/>
                  <a:gd name="T4" fmla="*/ 0 w 996"/>
                  <a:gd name="T5" fmla="*/ 0 h 1155"/>
                  <a:gd name="T6" fmla="*/ 0 w 996"/>
                  <a:gd name="T7" fmla="*/ 0 h 1155"/>
                  <a:gd name="T8" fmla="*/ 0 w 996"/>
                  <a:gd name="T9" fmla="*/ 0 h 1155"/>
                  <a:gd name="T10" fmla="*/ 0 w 996"/>
                  <a:gd name="T11" fmla="*/ 0 h 1155"/>
                  <a:gd name="T12" fmla="*/ 0 w 996"/>
                  <a:gd name="T13" fmla="*/ 0 h 1155"/>
                  <a:gd name="T14" fmla="*/ 0 w 996"/>
                  <a:gd name="T15" fmla="*/ 0 h 1155"/>
                  <a:gd name="T16" fmla="*/ 0 w 996"/>
                  <a:gd name="T17" fmla="*/ 0 h 1155"/>
                  <a:gd name="T18" fmla="*/ 0 w 996"/>
                  <a:gd name="T19" fmla="*/ 0 h 1155"/>
                  <a:gd name="T20" fmla="*/ 0 w 996"/>
                  <a:gd name="T21" fmla="*/ 0 h 1155"/>
                  <a:gd name="T22" fmla="*/ 0 w 996"/>
                  <a:gd name="T23" fmla="*/ 0 h 1155"/>
                  <a:gd name="T24" fmla="*/ 0 w 996"/>
                  <a:gd name="T25" fmla="*/ 0 h 1155"/>
                  <a:gd name="T26" fmla="*/ 0 w 996"/>
                  <a:gd name="T27" fmla="*/ 0 h 1155"/>
                  <a:gd name="T28" fmla="*/ 0 w 996"/>
                  <a:gd name="T29" fmla="*/ 0 h 1155"/>
                  <a:gd name="T30" fmla="*/ 0 w 996"/>
                  <a:gd name="T31" fmla="*/ 0 h 1155"/>
                  <a:gd name="T32" fmla="*/ 0 w 996"/>
                  <a:gd name="T33" fmla="*/ 0 h 1155"/>
                  <a:gd name="T34" fmla="*/ 0 w 996"/>
                  <a:gd name="T35" fmla="*/ 0 h 1155"/>
                  <a:gd name="T36" fmla="*/ 0 w 996"/>
                  <a:gd name="T37" fmla="*/ 0 h 1155"/>
                  <a:gd name="T38" fmla="*/ 0 w 996"/>
                  <a:gd name="T39" fmla="*/ 0 h 1155"/>
                  <a:gd name="T40" fmla="*/ 0 w 996"/>
                  <a:gd name="T41" fmla="*/ 0 h 1155"/>
                  <a:gd name="T42" fmla="*/ 0 w 996"/>
                  <a:gd name="T43" fmla="*/ 0 h 1155"/>
                  <a:gd name="T44" fmla="*/ 0 w 996"/>
                  <a:gd name="T45" fmla="*/ 0 h 1155"/>
                  <a:gd name="T46" fmla="*/ 0 w 996"/>
                  <a:gd name="T47" fmla="*/ 0 h 1155"/>
                  <a:gd name="T48" fmla="*/ 0 w 996"/>
                  <a:gd name="T49" fmla="*/ 0 h 1155"/>
                  <a:gd name="T50" fmla="*/ 0 w 996"/>
                  <a:gd name="T51" fmla="*/ 0 h 1155"/>
                  <a:gd name="T52" fmla="*/ 0 w 996"/>
                  <a:gd name="T53" fmla="*/ 0 h 1155"/>
                  <a:gd name="T54" fmla="*/ 0 w 996"/>
                  <a:gd name="T55" fmla="*/ 0 h 1155"/>
                  <a:gd name="T56" fmla="*/ 0 w 996"/>
                  <a:gd name="T57" fmla="*/ 0 h 1155"/>
                  <a:gd name="T58" fmla="*/ 0 w 996"/>
                  <a:gd name="T59" fmla="*/ 0 h 1155"/>
                  <a:gd name="T60" fmla="*/ 0 w 996"/>
                  <a:gd name="T61" fmla="*/ 0 h 1155"/>
                  <a:gd name="T62" fmla="*/ 0 w 996"/>
                  <a:gd name="T63" fmla="*/ 0 h 1155"/>
                  <a:gd name="T64" fmla="*/ 0 w 996"/>
                  <a:gd name="T65" fmla="*/ 0 h 1155"/>
                  <a:gd name="T66" fmla="*/ 0 w 996"/>
                  <a:gd name="T67" fmla="*/ 0 h 1155"/>
                  <a:gd name="T68" fmla="*/ 0 w 996"/>
                  <a:gd name="T69" fmla="*/ 0 h 1155"/>
                  <a:gd name="T70" fmla="*/ 0 w 996"/>
                  <a:gd name="T71" fmla="*/ 0 h 1155"/>
                  <a:gd name="T72" fmla="*/ 0 w 996"/>
                  <a:gd name="T73" fmla="*/ 0 h 1155"/>
                  <a:gd name="T74" fmla="*/ 0 w 996"/>
                  <a:gd name="T75" fmla="*/ 0 h 1155"/>
                  <a:gd name="T76" fmla="*/ 0 w 996"/>
                  <a:gd name="T77" fmla="*/ 0 h 1155"/>
                  <a:gd name="T78" fmla="*/ 0 w 996"/>
                  <a:gd name="T79" fmla="*/ 0 h 1155"/>
                  <a:gd name="T80" fmla="*/ 0 w 996"/>
                  <a:gd name="T81" fmla="*/ 0 h 1155"/>
                  <a:gd name="T82" fmla="*/ 0 w 996"/>
                  <a:gd name="T83" fmla="*/ 0 h 1155"/>
                  <a:gd name="T84" fmla="*/ 0 w 996"/>
                  <a:gd name="T85" fmla="*/ 0 h 1155"/>
                  <a:gd name="T86" fmla="*/ 0 w 996"/>
                  <a:gd name="T87" fmla="*/ 0 h 1155"/>
                  <a:gd name="T88" fmla="*/ 0 w 996"/>
                  <a:gd name="T89" fmla="*/ 0 h 1155"/>
                  <a:gd name="T90" fmla="*/ 0 w 996"/>
                  <a:gd name="T91" fmla="*/ 0 h 1155"/>
                  <a:gd name="T92" fmla="*/ 0 w 996"/>
                  <a:gd name="T93" fmla="*/ 0 h 1155"/>
                  <a:gd name="T94" fmla="*/ 0 w 996"/>
                  <a:gd name="T95" fmla="*/ 0 h 1155"/>
                  <a:gd name="T96" fmla="*/ 0 w 996"/>
                  <a:gd name="T97" fmla="*/ 0 h 1155"/>
                  <a:gd name="T98" fmla="*/ 0 w 996"/>
                  <a:gd name="T99" fmla="*/ 0 h 1155"/>
                  <a:gd name="T100" fmla="*/ 0 w 996"/>
                  <a:gd name="T101" fmla="*/ 0 h 1155"/>
                  <a:gd name="T102" fmla="*/ 0 w 996"/>
                  <a:gd name="T103" fmla="*/ 0 h 1155"/>
                  <a:gd name="T104" fmla="*/ 0 w 996"/>
                  <a:gd name="T105" fmla="*/ 0 h 1155"/>
                  <a:gd name="T106" fmla="*/ 0 w 996"/>
                  <a:gd name="T107" fmla="*/ 0 h 1155"/>
                  <a:gd name="T108" fmla="*/ 0 w 996"/>
                  <a:gd name="T109" fmla="*/ 0 h 1155"/>
                  <a:gd name="T110" fmla="*/ 0 w 996"/>
                  <a:gd name="T111" fmla="*/ 0 h 1155"/>
                  <a:gd name="T112" fmla="*/ 0 w 996"/>
                  <a:gd name="T113" fmla="*/ 0 h 1155"/>
                  <a:gd name="T114" fmla="*/ 0 w 996"/>
                  <a:gd name="T115" fmla="*/ 0 h 11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6"/>
                  <a:gd name="T175" fmla="*/ 0 h 1155"/>
                  <a:gd name="T176" fmla="*/ 996 w 996"/>
                  <a:gd name="T177" fmla="*/ 1155 h 11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6" h="1155">
                    <a:moveTo>
                      <a:pt x="996" y="339"/>
                    </a:moveTo>
                    <a:lnTo>
                      <a:pt x="921" y="261"/>
                    </a:lnTo>
                    <a:lnTo>
                      <a:pt x="915" y="213"/>
                    </a:lnTo>
                    <a:lnTo>
                      <a:pt x="738" y="198"/>
                    </a:lnTo>
                    <a:lnTo>
                      <a:pt x="714" y="180"/>
                    </a:lnTo>
                    <a:lnTo>
                      <a:pt x="708" y="150"/>
                    </a:lnTo>
                    <a:lnTo>
                      <a:pt x="687" y="141"/>
                    </a:lnTo>
                    <a:lnTo>
                      <a:pt x="687" y="93"/>
                    </a:lnTo>
                    <a:lnTo>
                      <a:pt x="669" y="75"/>
                    </a:lnTo>
                    <a:lnTo>
                      <a:pt x="624" y="84"/>
                    </a:lnTo>
                    <a:lnTo>
                      <a:pt x="606" y="84"/>
                    </a:lnTo>
                    <a:lnTo>
                      <a:pt x="609" y="111"/>
                    </a:lnTo>
                    <a:lnTo>
                      <a:pt x="591" y="129"/>
                    </a:lnTo>
                    <a:lnTo>
                      <a:pt x="555" y="126"/>
                    </a:lnTo>
                    <a:lnTo>
                      <a:pt x="546" y="93"/>
                    </a:lnTo>
                    <a:lnTo>
                      <a:pt x="495" y="30"/>
                    </a:lnTo>
                    <a:lnTo>
                      <a:pt x="450" y="0"/>
                    </a:lnTo>
                    <a:lnTo>
                      <a:pt x="435" y="69"/>
                    </a:lnTo>
                    <a:lnTo>
                      <a:pt x="411" y="78"/>
                    </a:lnTo>
                    <a:lnTo>
                      <a:pt x="387" y="39"/>
                    </a:lnTo>
                    <a:lnTo>
                      <a:pt x="339" y="21"/>
                    </a:lnTo>
                    <a:lnTo>
                      <a:pt x="303" y="27"/>
                    </a:lnTo>
                    <a:lnTo>
                      <a:pt x="297" y="69"/>
                    </a:lnTo>
                    <a:lnTo>
                      <a:pt x="261" y="75"/>
                    </a:lnTo>
                    <a:lnTo>
                      <a:pt x="270" y="114"/>
                    </a:lnTo>
                    <a:lnTo>
                      <a:pt x="333" y="123"/>
                    </a:lnTo>
                    <a:lnTo>
                      <a:pt x="330" y="222"/>
                    </a:lnTo>
                    <a:lnTo>
                      <a:pt x="360" y="264"/>
                    </a:lnTo>
                    <a:lnTo>
                      <a:pt x="357" y="285"/>
                    </a:lnTo>
                    <a:lnTo>
                      <a:pt x="324" y="297"/>
                    </a:lnTo>
                    <a:lnTo>
                      <a:pt x="318" y="261"/>
                    </a:lnTo>
                    <a:lnTo>
                      <a:pt x="279" y="264"/>
                    </a:lnTo>
                    <a:lnTo>
                      <a:pt x="192" y="195"/>
                    </a:lnTo>
                    <a:lnTo>
                      <a:pt x="147" y="174"/>
                    </a:lnTo>
                    <a:lnTo>
                      <a:pt x="129" y="192"/>
                    </a:lnTo>
                    <a:lnTo>
                      <a:pt x="159" y="225"/>
                    </a:lnTo>
                    <a:lnTo>
                      <a:pt x="159" y="270"/>
                    </a:lnTo>
                    <a:lnTo>
                      <a:pt x="174" y="303"/>
                    </a:lnTo>
                    <a:lnTo>
                      <a:pt x="141" y="333"/>
                    </a:lnTo>
                    <a:lnTo>
                      <a:pt x="108" y="345"/>
                    </a:lnTo>
                    <a:lnTo>
                      <a:pt x="72" y="327"/>
                    </a:lnTo>
                    <a:lnTo>
                      <a:pt x="45" y="336"/>
                    </a:lnTo>
                    <a:lnTo>
                      <a:pt x="30" y="363"/>
                    </a:lnTo>
                    <a:lnTo>
                      <a:pt x="114" y="429"/>
                    </a:lnTo>
                    <a:lnTo>
                      <a:pt x="141" y="471"/>
                    </a:lnTo>
                    <a:lnTo>
                      <a:pt x="72" y="420"/>
                    </a:lnTo>
                    <a:lnTo>
                      <a:pt x="30" y="417"/>
                    </a:lnTo>
                    <a:lnTo>
                      <a:pt x="0" y="477"/>
                    </a:lnTo>
                    <a:lnTo>
                      <a:pt x="9" y="531"/>
                    </a:lnTo>
                    <a:lnTo>
                      <a:pt x="27" y="531"/>
                    </a:lnTo>
                    <a:lnTo>
                      <a:pt x="12" y="576"/>
                    </a:lnTo>
                    <a:lnTo>
                      <a:pt x="12" y="591"/>
                    </a:lnTo>
                    <a:lnTo>
                      <a:pt x="54" y="624"/>
                    </a:lnTo>
                    <a:lnTo>
                      <a:pt x="69" y="678"/>
                    </a:lnTo>
                    <a:lnTo>
                      <a:pt x="18" y="705"/>
                    </a:lnTo>
                    <a:lnTo>
                      <a:pt x="27" y="726"/>
                    </a:lnTo>
                    <a:lnTo>
                      <a:pt x="54" y="729"/>
                    </a:lnTo>
                    <a:lnTo>
                      <a:pt x="54" y="783"/>
                    </a:lnTo>
                    <a:lnTo>
                      <a:pt x="21" y="858"/>
                    </a:lnTo>
                    <a:lnTo>
                      <a:pt x="54" y="882"/>
                    </a:lnTo>
                    <a:lnTo>
                      <a:pt x="45" y="912"/>
                    </a:lnTo>
                    <a:lnTo>
                      <a:pt x="87" y="912"/>
                    </a:lnTo>
                    <a:lnTo>
                      <a:pt x="96" y="882"/>
                    </a:lnTo>
                    <a:lnTo>
                      <a:pt x="156" y="900"/>
                    </a:lnTo>
                    <a:lnTo>
                      <a:pt x="231" y="897"/>
                    </a:lnTo>
                    <a:lnTo>
                      <a:pt x="255" y="882"/>
                    </a:lnTo>
                    <a:lnTo>
                      <a:pt x="294" y="918"/>
                    </a:lnTo>
                    <a:lnTo>
                      <a:pt x="309" y="900"/>
                    </a:lnTo>
                    <a:lnTo>
                      <a:pt x="396" y="918"/>
                    </a:lnTo>
                    <a:lnTo>
                      <a:pt x="438" y="942"/>
                    </a:lnTo>
                    <a:lnTo>
                      <a:pt x="498" y="855"/>
                    </a:lnTo>
                    <a:lnTo>
                      <a:pt x="519" y="825"/>
                    </a:lnTo>
                    <a:lnTo>
                      <a:pt x="525" y="783"/>
                    </a:lnTo>
                    <a:lnTo>
                      <a:pt x="441" y="732"/>
                    </a:lnTo>
                    <a:lnTo>
                      <a:pt x="468" y="663"/>
                    </a:lnTo>
                    <a:lnTo>
                      <a:pt x="486" y="687"/>
                    </a:lnTo>
                    <a:lnTo>
                      <a:pt x="510" y="669"/>
                    </a:lnTo>
                    <a:lnTo>
                      <a:pt x="516" y="603"/>
                    </a:lnTo>
                    <a:lnTo>
                      <a:pt x="507" y="573"/>
                    </a:lnTo>
                    <a:lnTo>
                      <a:pt x="465" y="522"/>
                    </a:lnTo>
                    <a:lnTo>
                      <a:pt x="390" y="480"/>
                    </a:lnTo>
                    <a:lnTo>
                      <a:pt x="381" y="450"/>
                    </a:lnTo>
                    <a:lnTo>
                      <a:pt x="399" y="378"/>
                    </a:lnTo>
                    <a:lnTo>
                      <a:pt x="369" y="381"/>
                    </a:lnTo>
                    <a:lnTo>
                      <a:pt x="327" y="342"/>
                    </a:lnTo>
                    <a:lnTo>
                      <a:pt x="324" y="315"/>
                    </a:lnTo>
                    <a:lnTo>
                      <a:pt x="354" y="303"/>
                    </a:lnTo>
                    <a:lnTo>
                      <a:pt x="432" y="366"/>
                    </a:lnTo>
                    <a:lnTo>
                      <a:pt x="450" y="429"/>
                    </a:lnTo>
                    <a:lnTo>
                      <a:pt x="423" y="429"/>
                    </a:lnTo>
                    <a:lnTo>
                      <a:pt x="420" y="474"/>
                    </a:lnTo>
                    <a:lnTo>
                      <a:pt x="462" y="498"/>
                    </a:lnTo>
                    <a:lnTo>
                      <a:pt x="513" y="534"/>
                    </a:lnTo>
                    <a:lnTo>
                      <a:pt x="540" y="609"/>
                    </a:lnTo>
                    <a:lnTo>
                      <a:pt x="549" y="663"/>
                    </a:lnTo>
                    <a:lnTo>
                      <a:pt x="543" y="684"/>
                    </a:lnTo>
                    <a:lnTo>
                      <a:pt x="597" y="723"/>
                    </a:lnTo>
                    <a:lnTo>
                      <a:pt x="528" y="882"/>
                    </a:lnTo>
                    <a:lnTo>
                      <a:pt x="567" y="957"/>
                    </a:lnTo>
                    <a:lnTo>
                      <a:pt x="624" y="1056"/>
                    </a:lnTo>
                    <a:lnTo>
                      <a:pt x="624" y="1110"/>
                    </a:lnTo>
                    <a:lnTo>
                      <a:pt x="690" y="1155"/>
                    </a:lnTo>
                    <a:lnTo>
                      <a:pt x="720" y="1152"/>
                    </a:lnTo>
                    <a:lnTo>
                      <a:pt x="732" y="1125"/>
                    </a:lnTo>
                    <a:lnTo>
                      <a:pt x="708" y="984"/>
                    </a:lnTo>
                    <a:lnTo>
                      <a:pt x="693" y="909"/>
                    </a:lnTo>
                    <a:lnTo>
                      <a:pt x="702" y="789"/>
                    </a:lnTo>
                    <a:lnTo>
                      <a:pt x="759" y="696"/>
                    </a:lnTo>
                    <a:lnTo>
                      <a:pt x="792" y="663"/>
                    </a:lnTo>
                    <a:lnTo>
                      <a:pt x="819" y="558"/>
                    </a:lnTo>
                    <a:lnTo>
                      <a:pt x="855" y="498"/>
                    </a:lnTo>
                    <a:lnTo>
                      <a:pt x="873" y="480"/>
                    </a:lnTo>
                    <a:lnTo>
                      <a:pt x="924" y="465"/>
                    </a:lnTo>
                    <a:lnTo>
                      <a:pt x="960" y="387"/>
                    </a:lnTo>
                    <a:lnTo>
                      <a:pt x="984" y="378"/>
                    </a:lnTo>
                    <a:lnTo>
                      <a:pt x="996" y="339"/>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22" name="Freeform 84"/>
              <p:cNvSpPr>
                <a:spLocks/>
              </p:cNvSpPr>
              <p:nvPr/>
            </p:nvSpPr>
            <p:spPr bwMode="auto">
              <a:xfrm>
                <a:off x="2484" y="3886"/>
                <a:ext cx="425" cy="359"/>
              </a:xfrm>
              <a:custGeom>
                <a:avLst/>
                <a:gdLst>
                  <a:gd name="T0" fmla="*/ 0 w 1020"/>
                  <a:gd name="T1" fmla="*/ 0 h 1041"/>
                  <a:gd name="T2" fmla="*/ 0 w 1020"/>
                  <a:gd name="T3" fmla="*/ 0 h 1041"/>
                  <a:gd name="T4" fmla="*/ 0 w 1020"/>
                  <a:gd name="T5" fmla="*/ 0 h 1041"/>
                  <a:gd name="T6" fmla="*/ 0 w 1020"/>
                  <a:gd name="T7" fmla="*/ 0 h 1041"/>
                  <a:gd name="T8" fmla="*/ 0 w 1020"/>
                  <a:gd name="T9" fmla="*/ 0 h 1041"/>
                  <a:gd name="T10" fmla="*/ 0 w 1020"/>
                  <a:gd name="T11" fmla="*/ 0 h 1041"/>
                  <a:gd name="T12" fmla="*/ 0 w 1020"/>
                  <a:gd name="T13" fmla="*/ 0 h 1041"/>
                  <a:gd name="T14" fmla="*/ 0 w 1020"/>
                  <a:gd name="T15" fmla="*/ 0 h 1041"/>
                  <a:gd name="T16" fmla="*/ 0 w 1020"/>
                  <a:gd name="T17" fmla="*/ 0 h 1041"/>
                  <a:gd name="T18" fmla="*/ 0 w 1020"/>
                  <a:gd name="T19" fmla="*/ 0 h 1041"/>
                  <a:gd name="T20" fmla="*/ 0 w 1020"/>
                  <a:gd name="T21" fmla="*/ 0 h 1041"/>
                  <a:gd name="T22" fmla="*/ 0 w 1020"/>
                  <a:gd name="T23" fmla="*/ 0 h 1041"/>
                  <a:gd name="T24" fmla="*/ 0 w 1020"/>
                  <a:gd name="T25" fmla="*/ 0 h 1041"/>
                  <a:gd name="T26" fmla="*/ 0 w 1020"/>
                  <a:gd name="T27" fmla="*/ 0 h 1041"/>
                  <a:gd name="T28" fmla="*/ 0 w 1020"/>
                  <a:gd name="T29" fmla="*/ 0 h 1041"/>
                  <a:gd name="T30" fmla="*/ 0 w 1020"/>
                  <a:gd name="T31" fmla="*/ 0 h 1041"/>
                  <a:gd name="T32" fmla="*/ 0 w 1020"/>
                  <a:gd name="T33" fmla="*/ 0 h 1041"/>
                  <a:gd name="T34" fmla="*/ 0 w 1020"/>
                  <a:gd name="T35" fmla="*/ 0 h 1041"/>
                  <a:gd name="T36" fmla="*/ 0 w 1020"/>
                  <a:gd name="T37" fmla="*/ 0 h 1041"/>
                  <a:gd name="T38" fmla="*/ 0 w 1020"/>
                  <a:gd name="T39" fmla="*/ 0 h 1041"/>
                  <a:gd name="T40" fmla="*/ 0 w 1020"/>
                  <a:gd name="T41" fmla="*/ 0 h 1041"/>
                  <a:gd name="T42" fmla="*/ 0 w 1020"/>
                  <a:gd name="T43" fmla="*/ 0 h 1041"/>
                  <a:gd name="T44" fmla="*/ 0 w 1020"/>
                  <a:gd name="T45" fmla="*/ 0 h 1041"/>
                  <a:gd name="T46" fmla="*/ 0 w 1020"/>
                  <a:gd name="T47" fmla="*/ 0 h 1041"/>
                  <a:gd name="T48" fmla="*/ 0 w 1020"/>
                  <a:gd name="T49" fmla="*/ 0 h 1041"/>
                  <a:gd name="T50" fmla="*/ 0 w 1020"/>
                  <a:gd name="T51" fmla="*/ 0 h 1041"/>
                  <a:gd name="T52" fmla="*/ 0 w 1020"/>
                  <a:gd name="T53" fmla="*/ 0 h 1041"/>
                  <a:gd name="T54" fmla="*/ 0 w 1020"/>
                  <a:gd name="T55" fmla="*/ 0 h 1041"/>
                  <a:gd name="T56" fmla="*/ 0 w 1020"/>
                  <a:gd name="T57" fmla="*/ 0 h 1041"/>
                  <a:gd name="T58" fmla="*/ 0 w 1020"/>
                  <a:gd name="T59" fmla="*/ 0 h 1041"/>
                  <a:gd name="T60" fmla="*/ 0 w 1020"/>
                  <a:gd name="T61" fmla="*/ 0 h 1041"/>
                  <a:gd name="T62" fmla="*/ 0 w 1020"/>
                  <a:gd name="T63" fmla="*/ 0 h 1041"/>
                  <a:gd name="T64" fmla="*/ 0 w 1020"/>
                  <a:gd name="T65" fmla="*/ 0 h 1041"/>
                  <a:gd name="T66" fmla="*/ 0 w 1020"/>
                  <a:gd name="T67" fmla="*/ 0 h 10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0"/>
                  <a:gd name="T103" fmla="*/ 0 h 1041"/>
                  <a:gd name="T104" fmla="*/ 1020 w 1020"/>
                  <a:gd name="T105" fmla="*/ 1041 h 10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0" h="1041">
                    <a:moveTo>
                      <a:pt x="495" y="3"/>
                    </a:moveTo>
                    <a:lnTo>
                      <a:pt x="357" y="0"/>
                    </a:lnTo>
                    <a:lnTo>
                      <a:pt x="264" y="57"/>
                    </a:lnTo>
                    <a:lnTo>
                      <a:pt x="210" y="48"/>
                    </a:lnTo>
                    <a:lnTo>
                      <a:pt x="189" y="75"/>
                    </a:lnTo>
                    <a:lnTo>
                      <a:pt x="114" y="129"/>
                    </a:lnTo>
                    <a:lnTo>
                      <a:pt x="105" y="180"/>
                    </a:lnTo>
                    <a:lnTo>
                      <a:pt x="114" y="249"/>
                    </a:lnTo>
                    <a:lnTo>
                      <a:pt x="156" y="261"/>
                    </a:lnTo>
                    <a:lnTo>
                      <a:pt x="156" y="303"/>
                    </a:lnTo>
                    <a:lnTo>
                      <a:pt x="180" y="303"/>
                    </a:lnTo>
                    <a:lnTo>
                      <a:pt x="213" y="327"/>
                    </a:lnTo>
                    <a:lnTo>
                      <a:pt x="216" y="369"/>
                    </a:lnTo>
                    <a:lnTo>
                      <a:pt x="240" y="375"/>
                    </a:lnTo>
                    <a:lnTo>
                      <a:pt x="231" y="411"/>
                    </a:lnTo>
                    <a:lnTo>
                      <a:pt x="207" y="411"/>
                    </a:lnTo>
                    <a:lnTo>
                      <a:pt x="198" y="456"/>
                    </a:lnTo>
                    <a:lnTo>
                      <a:pt x="159" y="450"/>
                    </a:lnTo>
                    <a:lnTo>
                      <a:pt x="153" y="426"/>
                    </a:lnTo>
                    <a:lnTo>
                      <a:pt x="87" y="405"/>
                    </a:lnTo>
                    <a:lnTo>
                      <a:pt x="72" y="426"/>
                    </a:lnTo>
                    <a:lnTo>
                      <a:pt x="96" y="456"/>
                    </a:lnTo>
                    <a:lnTo>
                      <a:pt x="42" y="447"/>
                    </a:lnTo>
                    <a:lnTo>
                      <a:pt x="33" y="402"/>
                    </a:lnTo>
                    <a:lnTo>
                      <a:pt x="42" y="378"/>
                    </a:lnTo>
                    <a:lnTo>
                      <a:pt x="39" y="348"/>
                    </a:lnTo>
                    <a:lnTo>
                      <a:pt x="6" y="363"/>
                    </a:lnTo>
                    <a:lnTo>
                      <a:pt x="0" y="432"/>
                    </a:lnTo>
                    <a:lnTo>
                      <a:pt x="39" y="486"/>
                    </a:lnTo>
                    <a:lnTo>
                      <a:pt x="69" y="558"/>
                    </a:lnTo>
                    <a:lnTo>
                      <a:pt x="234" y="642"/>
                    </a:lnTo>
                    <a:lnTo>
                      <a:pt x="342" y="663"/>
                    </a:lnTo>
                    <a:lnTo>
                      <a:pt x="450" y="711"/>
                    </a:lnTo>
                    <a:lnTo>
                      <a:pt x="507" y="720"/>
                    </a:lnTo>
                    <a:lnTo>
                      <a:pt x="561" y="759"/>
                    </a:lnTo>
                    <a:lnTo>
                      <a:pt x="651" y="882"/>
                    </a:lnTo>
                    <a:lnTo>
                      <a:pt x="672" y="879"/>
                    </a:lnTo>
                    <a:lnTo>
                      <a:pt x="720" y="903"/>
                    </a:lnTo>
                    <a:lnTo>
                      <a:pt x="816" y="990"/>
                    </a:lnTo>
                    <a:lnTo>
                      <a:pt x="924" y="1041"/>
                    </a:lnTo>
                    <a:lnTo>
                      <a:pt x="939" y="1023"/>
                    </a:lnTo>
                    <a:lnTo>
                      <a:pt x="906" y="1005"/>
                    </a:lnTo>
                    <a:lnTo>
                      <a:pt x="852" y="969"/>
                    </a:lnTo>
                    <a:lnTo>
                      <a:pt x="915" y="903"/>
                    </a:lnTo>
                    <a:lnTo>
                      <a:pt x="963" y="903"/>
                    </a:lnTo>
                    <a:lnTo>
                      <a:pt x="993" y="849"/>
                    </a:lnTo>
                    <a:lnTo>
                      <a:pt x="1002" y="822"/>
                    </a:lnTo>
                    <a:lnTo>
                      <a:pt x="963" y="798"/>
                    </a:lnTo>
                    <a:lnTo>
                      <a:pt x="1002" y="717"/>
                    </a:lnTo>
                    <a:lnTo>
                      <a:pt x="999" y="669"/>
                    </a:lnTo>
                    <a:lnTo>
                      <a:pt x="969" y="666"/>
                    </a:lnTo>
                    <a:lnTo>
                      <a:pt x="963" y="648"/>
                    </a:lnTo>
                    <a:lnTo>
                      <a:pt x="1020" y="618"/>
                    </a:lnTo>
                    <a:lnTo>
                      <a:pt x="999" y="555"/>
                    </a:lnTo>
                    <a:lnTo>
                      <a:pt x="960" y="519"/>
                    </a:lnTo>
                    <a:lnTo>
                      <a:pt x="972" y="468"/>
                    </a:lnTo>
                    <a:lnTo>
                      <a:pt x="951" y="471"/>
                    </a:lnTo>
                    <a:lnTo>
                      <a:pt x="945" y="414"/>
                    </a:lnTo>
                    <a:lnTo>
                      <a:pt x="975" y="357"/>
                    </a:lnTo>
                    <a:lnTo>
                      <a:pt x="879" y="333"/>
                    </a:lnTo>
                    <a:lnTo>
                      <a:pt x="843" y="309"/>
                    </a:lnTo>
                    <a:lnTo>
                      <a:pt x="825" y="255"/>
                    </a:lnTo>
                    <a:lnTo>
                      <a:pt x="753" y="240"/>
                    </a:lnTo>
                    <a:lnTo>
                      <a:pt x="696" y="186"/>
                    </a:lnTo>
                    <a:lnTo>
                      <a:pt x="657" y="153"/>
                    </a:lnTo>
                    <a:lnTo>
                      <a:pt x="660" y="108"/>
                    </a:lnTo>
                    <a:lnTo>
                      <a:pt x="576" y="57"/>
                    </a:lnTo>
                    <a:lnTo>
                      <a:pt x="495" y="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81" name="Group 85"/>
            <p:cNvGrpSpPr>
              <a:grpSpLocks/>
            </p:cNvGrpSpPr>
            <p:nvPr/>
          </p:nvGrpSpPr>
          <p:grpSpPr bwMode="auto">
            <a:xfrm>
              <a:off x="3235" y="2321"/>
              <a:ext cx="507" cy="510"/>
              <a:chOff x="3046" y="2643"/>
              <a:chExt cx="507" cy="510"/>
            </a:xfrm>
          </p:grpSpPr>
          <p:sp>
            <p:nvSpPr>
              <p:cNvPr id="29807" name="Freeform 86"/>
              <p:cNvSpPr>
                <a:spLocks/>
              </p:cNvSpPr>
              <p:nvPr/>
            </p:nvSpPr>
            <p:spPr bwMode="auto">
              <a:xfrm>
                <a:off x="3147" y="2643"/>
                <a:ext cx="279" cy="194"/>
              </a:xfrm>
              <a:custGeom>
                <a:avLst/>
                <a:gdLst>
                  <a:gd name="T0" fmla="*/ 0 w 1482"/>
                  <a:gd name="T1" fmla="*/ 0 h 1050"/>
                  <a:gd name="T2" fmla="*/ 0 w 1482"/>
                  <a:gd name="T3" fmla="*/ 0 h 1050"/>
                  <a:gd name="T4" fmla="*/ 0 w 1482"/>
                  <a:gd name="T5" fmla="*/ 0 h 1050"/>
                  <a:gd name="T6" fmla="*/ 0 w 1482"/>
                  <a:gd name="T7" fmla="*/ 0 h 1050"/>
                  <a:gd name="T8" fmla="*/ 0 w 1482"/>
                  <a:gd name="T9" fmla="*/ 0 h 1050"/>
                  <a:gd name="T10" fmla="*/ 0 w 1482"/>
                  <a:gd name="T11" fmla="*/ 0 h 1050"/>
                  <a:gd name="T12" fmla="*/ 0 w 1482"/>
                  <a:gd name="T13" fmla="*/ 0 h 1050"/>
                  <a:gd name="T14" fmla="*/ 0 w 1482"/>
                  <a:gd name="T15" fmla="*/ 0 h 1050"/>
                  <a:gd name="T16" fmla="*/ 0 w 1482"/>
                  <a:gd name="T17" fmla="*/ 0 h 1050"/>
                  <a:gd name="T18" fmla="*/ 0 w 1482"/>
                  <a:gd name="T19" fmla="*/ 0 h 1050"/>
                  <a:gd name="T20" fmla="*/ 0 w 1482"/>
                  <a:gd name="T21" fmla="*/ 0 h 1050"/>
                  <a:gd name="T22" fmla="*/ 0 w 1482"/>
                  <a:gd name="T23" fmla="*/ 0 h 1050"/>
                  <a:gd name="T24" fmla="*/ 0 w 1482"/>
                  <a:gd name="T25" fmla="*/ 0 h 1050"/>
                  <a:gd name="T26" fmla="*/ 0 w 1482"/>
                  <a:gd name="T27" fmla="*/ 0 h 1050"/>
                  <a:gd name="T28" fmla="*/ 0 w 1482"/>
                  <a:gd name="T29" fmla="*/ 0 h 1050"/>
                  <a:gd name="T30" fmla="*/ 0 w 1482"/>
                  <a:gd name="T31" fmla="*/ 0 h 1050"/>
                  <a:gd name="T32" fmla="*/ 0 w 1482"/>
                  <a:gd name="T33" fmla="*/ 0 h 1050"/>
                  <a:gd name="T34" fmla="*/ 0 w 1482"/>
                  <a:gd name="T35" fmla="*/ 0 h 1050"/>
                  <a:gd name="T36" fmla="*/ 0 w 1482"/>
                  <a:gd name="T37" fmla="*/ 0 h 1050"/>
                  <a:gd name="T38" fmla="*/ 0 w 1482"/>
                  <a:gd name="T39" fmla="*/ 0 h 1050"/>
                  <a:gd name="T40" fmla="*/ 0 w 1482"/>
                  <a:gd name="T41" fmla="*/ 0 h 1050"/>
                  <a:gd name="T42" fmla="*/ 0 w 1482"/>
                  <a:gd name="T43" fmla="*/ 0 h 1050"/>
                  <a:gd name="T44" fmla="*/ 0 w 1482"/>
                  <a:gd name="T45" fmla="*/ 0 h 1050"/>
                  <a:gd name="T46" fmla="*/ 0 w 1482"/>
                  <a:gd name="T47" fmla="*/ 0 h 1050"/>
                  <a:gd name="T48" fmla="*/ 0 w 1482"/>
                  <a:gd name="T49" fmla="*/ 0 h 1050"/>
                  <a:gd name="T50" fmla="*/ 0 w 1482"/>
                  <a:gd name="T51" fmla="*/ 0 h 1050"/>
                  <a:gd name="T52" fmla="*/ 0 w 1482"/>
                  <a:gd name="T53" fmla="*/ 0 h 1050"/>
                  <a:gd name="T54" fmla="*/ 0 w 1482"/>
                  <a:gd name="T55" fmla="*/ 0 h 1050"/>
                  <a:gd name="T56" fmla="*/ 0 w 1482"/>
                  <a:gd name="T57" fmla="*/ 0 h 10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82"/>
                  <a:gd name="T88" fmla="*/ 0 h 1050"/>
                  <a:gd name="T89" fmla="*/ 1482 w 1482"/>
                  <a:gd name="T90" fmla="*/ 1050 h 10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82" h="1050">
                    <a:moveTo>
                      <a:pt x="1470" y="216"/>
                    </a:moveTo>
                    <a:lnTo>
                      <a:pt x="1314" y="132"/>
                    </a:lnTo>
                    <a:lnTo>
                      <a:pt x="1250" y="80"/>
                    </a:lnTo>
                    <a:lnTo>
                      <a:pt x="966" y="0"/>
                    </a:lnTo>
                    <a:lnTo>
                      <a:pt x="846" y="20"/>
                    </a:lnTo>
                    <a:lnTo>
                      <a:pt x="679" y="132"/>
                    </a:lnTo>
                    <a:lnTo>
                      <a:pt x="498" y="223"/>
                    </a:lnTo>
                    <a:lnTo>
                      <a:pt x="362" y="359"/>
                    </a:lnTo>
                    <a:lnTo>
                      <a:pt x="230" y="448"/>
                    </a:lnTo>
                    <a:lnTo>
                      <a:pt x="146" y="548"/>
                    </a:lnTo>
                    <a:lnTo>
                      <a:pt x="82" y="616"/>
                    </a:lnTo>
                    <a:lnTo>
                      <a:pt x="0" y="692"/>
                    </a:lnTo>
                    <a:lnTo>
                      <a:pt x="135" y="722"/>
                    </a:lnTo>
                    <a:lnTo>
                      <a:pt x="226" y="813"/>
                    </a:lnTo>
                    <a:lnTo>
                      <a:pt x="282" y="748"/>
                    </a:lnTo>
                    <a:lnTo>
                      <a:pt x="384" y="872"/>
                    </a:lnTo>
                    <a:lnTo>
                      <a:pt x="486" y="904"/>
                    </a:lnTo>
                    <a:lnTo>
                      <a:pt x="543" y="994"/>
                    </a:lnTo>
                    <a:lnTo>
                      <a:pt x="646" y="1050"/>
                    </a:lnTo>
                    <a:lnTo>
                      <a:pt x="750" y="996"/>
                    </a:lnTo>
                    <a:lnTo>
                      <a:pt x="814" y="924"/>
                    </a:lnTo>
                    <a:lnTo>
                      <a:pt x="962" y="936"/>
                    </a:lnTo>
                    <a:lnTo>
                      <a:pt x="1062" y="836"/>
                    </a:lnTo>
                    <a:lnTo>
                      <a:pt x="1242" y="848"/>
                    </a:lnTo>
                    <a:lnTo>
                      <a:pt x="1310" y="600"/>
                    </a:lnTo>
                    <a:lnTo>
                      <a:pt x="1378" y="640"/>
                    </a:lnTo>
                    <a:lnTo>
                      <a:pt x="1450" y="456"/>
                    </a:lnTo>
                    <a:lnTo>
                      <a:pt x="1482" y="284"/>
                    </a:lnTo>
                    <a:lnTo>
                      <a:pt x="1470" y="21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8" name="Freeform 87"/>
              <p:cNvSpPr>
                <a:spLocks/>
              </p:cNvSpPr>
              <p:nvPr/>
            </p:nvSpPr>
            <p:spPr bwMode="auto">
              <a:xfrm>
                <a:off x="3411" y="2679"/>
                <a:ext cx="142" cy="143"/>
              </a:xfrm>
              <a:custGeom>
                <a:avLst/>
                <a:gdLst>
                  <a:gd name="T0" fmla="*/ 0 w 758"/>
                  <a:gd name="T1" fmla="*/ 0 h 771"/>
                  <a:gd name="T2" fmla="*/ 0 w 758"/>
                  <a:gd name="T3" fmla="*/ 0 h 771"/>
                  <a:gd name="T4" fmla="*/ 0 w 758"/>
                  <a:gd name="T5" fmla="*/ 0 h 771"/>
                  <a:gd name="T6" fmla="*/ 0 w 758"/>
                  <a:gd name="T7" fmla="*/ 0 h 771"/>
                  <a:gd name="T8" fmla="*/ 0 w 758"/>
                  <a:gd name="T9" fmla="*/ 0 h 771"/>
                  <a:gd name="T10" fmla="*/ 0 w 758"/>
                  <a:gd name="T11" fmla="*/ 0 h 771"/>
                  <a:gd name="T12" fmla="*/ 0 w 758"/>
                  <a:gd name="T13" fmla="*/ 0 h 771"/>
                  <a:gd name="T14" fmla="*/ 0 w 758"/>
                  <a:gd name="T15" fmla="*/ 0 h 771"/>
                  <a:gd name="T16" fmla="*/ 0 w 758"/>
                  <a:gd name="T17" fmla="*/ 0 h 771"/>
                  <a:gd name="T18" fmla="*/ 0 w 758"/>
                  <a:gd name="T19" fmla="*/ 0 h 771"/>
                  <a:gd name="T20" fmla="*/ 0 w 758"/>
                  <a:gd name="T21" fmla="*/ 0 h 771"/>
                  <a:gd name="T22" fmla="*/ 0 w 758"/>
                  <a:gd name="T23" fmla="*/ 0 h 771"/>
                  <a:gd name="T24" fmla="*/ 0 w 758"/>
                  <a:gd name="T25" fmla="*/ 0 h 771"/>
                  <a:gd name="T26" fmla="*/ 0 w 758"/>
                  <a:gd name="T27" fmla="*/ 0 h 771"/>
                  <a:gd name="T28" fmla="*/ 0 w 758"/>
                  <a:gd name="T29" fmla="*/ 0 h 771"/>
                  <a:gd name="T30" fmla="*/ 0 w 758"/>
                  <a:gd name="T31" fmla="*/ 0 h 771"/>
                  <a:gd name="T32" fmla="*/ 0 w 758"/>
                  <a:gd name="T33" fmla="*/ 0 h 771"/>
                  <a:gd name="T34" fmla="*/ 0 w 758"/>
                  <a:gd name="T35" fmla="*/ 0 h 771"/>
                  <a:gd name="T36" fmla="*/ 0 w 758"/>
                  <a:gd name="T37" fmla="*/ 0 h 771"/>
                  <a:gd name="T38" fmla="*/ 0 w 758"/>
                  <a:gd name="T39" fmla="*/ 0 h 771"/>
                  <a:gd name="T40" fmla="*/ 0 w 758"/>
                  <a:gd name="T41" fmla="*/ 0 h 771"/>
                  <a:gd name="T42" fmla="*/ 0 w 758"/>
                  <a:gd name="T43" fmla="*/ 0 h 771"/>
                  <a:gd name="T44" fmla="*/ 0 w 758"/>
                  <a:gd name="T45" fmla="*/ 0 h 77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8"/>
                  <a:gd name="T70" fmla="*/ 0 h 771"/>
                  <a:gd name="T71" fmla="*/ 758 w 758"/>
                  <a:gd name="T72" fmla="*/ 771 h 77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8" h="771">
                    <a:moveTo>
                      <a:pt x="0" y="408"/>
                    </a:moveTo>
                    <a:lnTo>
                      <a:pt x="45" y="272"/>
                    </a:lnTo>
                    <a:lnTo>
                      <a:pt x="86" y="94"/>
                    </a:lnTo>
                    <a:lnTo>
                      <a:pt x="66" y="10"/>
                    </a:lnTo>
                    <a:lnTo>
                      <a:pt x="181" y="0"/>
                    </a:lnTo>
                    <a:lnTo>
                      <a:pt x="317" y="0"/>
                    </a:lnTo>
                    <a:lnTo>
                      <a:pt x="414" y="42"/>
                    </a:lnTo>
                    <a:lnTo>
                      <a:pt x="499" y="90"/>
                    </a:lnTo>
                    <a:lnTo>
                      <a:pt x="594" y="186"/>
                    </a:lnTo>
                    <a:lnTo>
                      <a:pt x="694" y="262"/>
                    </a:lnTo>
                    <a:lnTo>
                      <a:pt x="742" y="314"/>
                    </a:lnTo>
                    <a:lnTo>
                      <a:pt x="758" y="382"/>
                    </a:lnTo>
                    <a:lnTo>
                      <a:pt x="706" y="482"/>
                    </a:lnTo>
                    <a:lnTo>
                      <a:pt x="638" y="562"/>
                    </a:lnTo>
                    <a:lnTo>
                      <a:pt x="589" y="589"/>
                    </a:lnTo>
                    <a:lnTo>
                      <a:pt x="566" y="598"/>
                    </a:lnTo>
                    <a:lnTo>
                      <a:pt x="518" y="718"/>
                    </a:lnTo>
                    <a:lnTo>
                      <a:pt x="453" y="771"/>
                    </a:lnTo>
                    <a:lnTo>
                      <a:pt x="406" y="694"/>
                    </a:lnTo>
                    <a:lnTo>
                      <a:pt x="278" y="746"/>
                    </a:lnTo>
                    <a:lnTo>
                      <a:pt x="258" y="602"/>
                    </a:lnTo>
                    <a:lnTo>
                      <a:pt x="94" y="638"/>
                    </a:lnTo>
                    <a:lnTo>
                      <a:pt x="0" y="40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9" name="Freeform 88"/>
              <p:cNvSpPr>
                <a:spLocks/>
              </p:cNvSpPr>
              <p:nvPr/>
            </p:nvSpPr>
            <p:spPr bwMode="auto">
              <a:xfrm>
                <a:off x="3373" y="2754"/>
                <a:ext cx="134" cy="177"/>
              </a:xfrm>
              <a:custGeom>
                <a:avLst/>
                <a:gdLst>
                  <a:gd name="T0" fmla="*/ 0 w 714"/>
                  <a:gd name="T1" fmla="*/ 0 h 952"/>
                  <a:gd name="T2" fmla="*/ 0 w 714"/>
                  <a:gd name="T3" fmla="*/ 0 h 952"/>
                  <a:gd name="T4" fmla="*/ 0 w 714"/>
                  <a:gd name="T5" fmla="*/ 0 h 952"/>
                  <a:gd name="T6" fmla="*/ 0 w 714"/>
                  <a:gd name="T7" fmla="*/ 0 h 952"/>
                  <a:gd name="T8" fmla="*/ 0 w 714"/>
                  <a:gd name="T9" fmla="*/ 0 h 952"/>
                  <a:gd name="T10" fmla="*/ 0 w 714"/>
                  <a:gd name="T11" fmla="*/ 0 h 952"/>
                  <a:gd name="T12" fmla="*/ 0 w 714"/>
                  <a:gd name="T13" fmla="*/ 0 h 952"/>
                  <a:gd name="T14" fmla="*/ 0 w 714"/>
                  <a:gd name="T15" fmla="*/ 0 h 952"/>
                  <a:gd name="T16" fmla="*/ 0 w 714"/>
                  <a:gd name="T17" fmla="*/ 0 h 952"/>
                  <a:gd name="T18" fmla="*/ 0 w 714"/>
                  <a:gd name="T19" fmla="*/ 0 h 952"/>
                  <a:gd name="T20" fmla="*/ 0 w 714"/>
                  <a:gd name="T21" fmla="*/ 0 h 952"/>
                  <a:gd name="T22" fmla="*/ 0 w 714"/>
                  <a:gd name="T23" fmla="*/ 0 h 952"/>
                  <a:gd name="T24" fmla="*/ 0 w 714"/>
                  <a:gd name="T25" fmla="*/ 0 h 952"/>
                  <a:gd name="T26" fmla="*/ 0 w 714"/>
                  <a:gd name="T27" fmla="*/ 0 h 952"/>
                  <a:gd name="T28" fmla="*/ 0 w 714"/>
                  <a:gd name="T29" fmla="*/ 0 h 952"/>
                  <a:gd name="T30" fmla="*/ 0 w 714"/>
                  <a:gd name="T31" fmla="*/ 0 h 952"/>
                  <a:gd name="T32" fmla="*/ 0 w 714"/>
                  <a:gd name="T33" fmla="*/ 0 h 952"/>
                  <a:gd name="T34" fmla="*/ 0 w 714"/>
                  <a:gd name="T35" fmla="*/ 0 h 952"/>
                  <a:gd name="T36" fmla="*/ 0 w 714"/>
                  <a:gd name="T37" fmla="*/ 0 h 952"/>
                  <a:gd name="T38" fmla="*/ 0 w 714"/>
                  <a:gd name="T39" fmla="*/ 0 h 952"/>
                  <a:gd name="T40" fmla="*/ 0 w 714"/>
                  <a:gd name="T41" fmla="*/ 0 h 952"/>
                  <a:gd name="T42" fmla="*/ 0 w 714"/>
                  <a:gd name="T43" fmla="*/ 0 h 952"/>
                  <a:gd name="T44" fmla="*/ 0 w 714"/>
                  <a:gd name="T45" fmla="*/ 0 h 952"/>
                  <a:gd name="T46" fmla="*/ 0 w 714"/>
                  <a:gd name="T47" fmla="*/ 0 h 952"/>
                  <a:gd name="T48" fmla="*/ 0 w 714"/>
                  <a:gd name="T49" fmla="*/ 0 h 952"/>
                  <a:gd name="T50" fmla="*/ 0 w 714"/>
                  <a:gd name="T51" fmla="*/ 0 h 952"/>
                  <a:gd name="T52" fmla="*/ 0 w 714"/>
                  <a:gd name="T53" fmla="*/ 0 h 952"/>
                  <a:gd name="T54" fmla="*/ 0 w 714"/>
                  <a:gd name="T55" fmla="*/ 0 h 952"/>
                  <a:gd name="T56" fmla="*/ 0 w 714"/>
                  <a:gd name="T57" fmla="*/ 0 h 952"/>
                  <a:gd name="T58" fmla="*/ 0 w 714"/>
                  <a:gd name="T59" fmla="*/ 0 h 952"/>
                  <a:gd name="T60" fmla="*/ 0 w 714"/>
                  <a:gd name="T61" fmla="*/ 0 h 9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14"/>
                  <a:gd name="T94" fmla="*/ 0 h 952"/>
                  <a:gd name="T95" fmla="*/ 714 w 714"/>
                  <a:gd name="T96" fmla="*/ 952 h 9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14" h="952">
                    <a:moveTo>
                      <a:pt x="708" y="328"/>
                    </a:moveTo>
                    <a:lnTo>
                      <a:pt x="714" y="370"/>
                    </a:lnTo>
                    <a:lnTo>
                      <a:pt x="675" y="448"/>
                    </a:lnTo>
                    <a:lnTo>
                      <a:pt x="672" y="541"/>
                    </a:lnTo>
                    <a:lnTo>
                      <a:pt x="655" y="635"/>
                    </a:lnTo>
                    <a:lnTo>
                      <a:pt x="636" y="688"/>
                    </a:lnTo>
                    <a:lnTo>
                      <a:pt x="660" y="802"/>
                    </a:lnTo>
                    <a:lnTo>
                      <a:pt x="564" y="862"/>
                    </a:lnTo>
                    <a:lnTo>
                      <a:pt x="428" y="907"/>
                    </a:lnTo>
                    <a:lnTo>
                      <a:pt x="292" y="952"/>
                    </a:lnTo>
                    <a:lnTo>
                      <a:pt x="247" y="952"/>
                    </a:lnTo>
                    <a:lnTo>
                      <a:pt x="147" y="901"/>
                    </a:lnTo>
                    <a:lnTo>
                      <a:pt x="192" y="811"/>
                    </a:lnTo>
                    <a:lnTo>
                      <a:pt x="129" y="757"/>
                    </a:lnTo>
                    <a:lnTo>
                      <a:pt x="96" y="646"/>
                    </a:lnTo>
                    <a:lnTo>
                      <a:pt x="39" y="595"/>
                    </a:lnTo>
                    <a:lnTo>
                      <a:pt x="66" y="544"/>
                    </a:lnTo>
                    <a:lnTo>
                      <a:pt x="100" y="456"/>
                    </a:lnTo>
                    <a:lnTo>
                      <a:pt x="20" y="408"/>
                    </a:lnTo>
                    <a:lnTo>
                      <a:pt x="0" y="340"/>
                    </a:lnTo>
                    <a:lnTo>
                      <a:pt x="20" y="272"/>
                    </a:lnTo>
                    <a:lnTo>
                      <a:pt x="52" y="246"/>
                    </a:lnTo>
                    <a:lnTo>
                      <a:pt x="111" y="0"/>
                    </a:lnTo>
                    <a:lnTo>
                      <a:pt x="186" y="37"/>
                    </a:lnTo>
                    <a:lnTo>
                      <a:pt x="202" y="0"/>
                    </a:lnTo>
                    <a:lnTo>
                      <a:pt x="292" y="234"/>
                    </a:lnTo>
                    <a:lnTo>
                      <a:pt x="456" y="198"/>
                    </a:lnTo>
                    <a:lnTo>
                      <a:pt x="476" y="346"/>
                    </a:lnTo>
                    <a:lnTo>
                      <a:pt x="610" y="272"/>
                    </a:lnTo>
                    <a:lnTo>
                      <a:pt x="655" y="363"/>
                    </a:lnTo>
                    <a:lnTo>
                      <a:pt x="708" y="328"/>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0" name="Freeform 89"/>
              <p:cNvSpPr>
                <a:spLocks/>
              </p:cNvSpPr>
              <p:nvPr/>
            </p:nvSpPr>
            <p:spPr bwMode="auto">
              <a:xfrm>
                <a:off x="3203" y="2796"/>
                <a:ext cx="208" cy="185"/>
              </a:xfrm>
              <a:custGeom>
                <a:avLst/>
                <a:gdLst>
                  <a:gd name="T0" fmla="*/ 0 w 1100"/>
                  <a:gd name="T1" fmla="*/ 0 h 999"/>
                  <a:gd name="T2" fmla="*/ 0 w 1100"/>
                  <a:gd name="T3" fmla="*/ 0 h 999"/>
                  <a:gd name="T4" fmla="*/ 0 w 1100"/>
                  <a:gd name="T5" fmla="*/ 0 h 999"/>
                  <a:gd name="T6" fmla="*/ 0 w 1100"/>
                  <a:gd name="T7" fmla="*/ 0 h 999"/>
                  <a:gd name="T8" fmla="*/ 0 w 1100"/>
                  <a:gd name="T9" fmla="*/ 0 h 999"/>
                  <a:gd name="T10" fmla="*/ 0 w 1100"/>
                  <a:gd name="T11" fmla="*/ 0 h 999"/>
                  <a:gd name="T12" fmla="*/ 0 w 1100"/>
                  <a:gd name="T13" fmla="*/ 0 h 999"/>
                  <a:gd name="T14" fmla="*/ 0 w 1100"/>
                  <a:gd name="T15" fmla="*/ 0 h 999"/>
                  <a:gd name="T16" fmla="*/ 0 w 1100"/>
                  <a:gd name="T17" fmla="*/ 0 h 999"/>
                  <a:gd name="T18" fmla="*/ 0 w 1100"/>
                  <a:gd name="T19" fmla="*/ 0 h 999"/>
                  <a:gd name="T20" fmla="*/ 0 w 1100"/>
                  <a:gd name="T21" fmla="*/ 0 h 999"/>
                  <a:gd name="T22" fmla="*/ 0 w 1100"/>
                  <a:gd name="T23" fmla="*/ 0 h 999"/>
                  <a:gd name="T24" fmla="*/ 0 w 1100"/>
                  <a:gd name="T25" fmla="*/ 0 h 999"/>
                  <a:gd name="T26" fmla="*/ 0 w 1100"/>
                  <a:gd name="T27" fmla="*/ 0 h 999"/>
                  <a:gd name="T28" fmla="*/ 0 w 1100"/>
                  <a:gd name="T29" fmla="*/ 0 h 999"/>
                  <a:gd name="T30" fmla="*/ 0 w 1100"/>
                  <a:gd name="T31" fmla="*/ 0 h 999"/>
                  <a:gd name="T32" fmla="*/ 0 w 1100"/>
                  <a:gd name="T33" fmla="*/ 0 h 999"/>
                  <a:gd name="T34" fmla="*/ 0 w 1100"/>
                  <a:gd name="T35" fmla="*/ 0 h 999"/>
                  <a:gd name="T36" fmla="*/ 0 w 1100"/>
                  <a:gd name="T37" fmla="*/ 0 h 999"/>
                  <a:gd name="T38" fmla="*/ 0 w 1100"/>
                  <a:gd name="T39" fmla="*/ 0 h 999"/>
                  <a:gd name="T40" fmla="*/ 0 w 1100"/>
                  <a:gd name="T41" fmla="*/ 0 h 999"/>
                  <a:gd name="T42" fmla="*/ 0 w 1100"/>
                  <a:gd name="T43" fmla="*/ 0 h 999"/>
                  <a:gd name="T44" fmla="*/ 0 w 1100"/>
                  <a:gd name="T45" fmla="*/ 0 h 999"/>
                  <a:gd name="T46" fmla="*/ 0 w 1100"/>
                  <a:gd name="T47" fmla="*/ 0 h 999"/>
                  <a:gd name="T48" fmla="*/ 0 w 1100"/>
                  <a:gd name="T49" fmla="*/ 0 h 999"/>
                  <a:gd name="T50" fmla="*/ 0 w 1100"/>
                  <a:gd name="T51" fmla="*/ 0 h 999"/>
                  <a:gd name="T52" fmla="*/ 0 w 1100"/>
                  <a:gd name="T53" fmla="*/ 0 h 999"/>
                  <a:gd name="T54" fmla="*/ 0 w 1100"/>
                  <a:gd name="T55" fmla="*/ 0 h 999"/>
                  <a:gd name="T56" fmla="*/ 0 w 1100"/>
                  <a:gd name="T57" fmla="*/ 0 h 999"/>
                  <a:gd name="T58" fmla="*/ 0 w 1100"/>
                  <a:gd name="T59" fmla="*/ 0 h 999"/>
                  <a:gd name="T60" fmla="*/ 0 w 1100"/>
                  <a:gd name="T61" fmla="*/ 0 h 999"/>
                  <a:gd name="T62" fmla="*/ 0 w 1100"/>
                  <a:gd name="T63" fmla="*/ 0 h 999"/>
                  <a:gd name="T64" fmla="*/ 0 w 1100"/>
                  <a:gd name="T65" fmla="*/ 0 h 999"/>
                  <a:gd name="T66" fmla="*/ 0 w 1100"/>
                  <a:gd name="T67" fmla="*/ 0 h 999"/>
                  <a:gd name="T68" fmla="*/ 0 w 1100"/>
                  <a:gd name="T69" fmla="*/ 0 h 999"/>
                  <a:gd name="T70" fmla="*/ 0 w 1100"/>
                  <a:gd name="T71" fmla="*/ 0 h 999"/>
                  <a:gd name="T72" fmla="*/ 0 w 1100"/>
                  <a:gd name="T73" fmla="*/ 0 h 999"/>
                  <a:gd name="T74" fmla="*/ 0 w 1100"/>
                  <a:gd name="T75" fmla="*/ 0 h 999"/>
                  <a:gd name="T76" fmla="*/ 0 w 1100"/>
                  <a:gd name="T77" fmla="*/ 0 h 999"/>
                  <a:gd name="T78" fmla="*/ 0 w 1100"/>
                  <a:gd name="T79" fmla="*/ 0 h 999"/>
                  <a:gd name="T80" fmla="*/ 0 w 1100"/>
                  <a:gd name="T81" fmla="*/ 0 h 999"/>
                  <a:gd name="T82" fmla="*/ 0 w 1100"/>
                  <a:gd name="T83" fmla="*/ 0 h 999"/>
                  <a:gd name="T84" fmla="*/ 0 w 1100"/>
                  <a:gd name="T85" fmla="*/ 0 h 999"/>
                  <a:gd name="T86" fmla="*/ 0 w 1100"/>
                  <a:gd name="T87" fmla="*/ 0 h 999"/>
                  <a:gd name="T88" fmla="*/ 0 w 1100"/>
                  <a:gd name="T89" fmla="*/ 0 h 9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00"/>
                  <a:gd name="T136" fmla="*/ 0 h 999"/>
                  <a:gd name="T137" fmla="*/ 1100 w 1100"/>
                  <a:gd name="T138" fmla="*/ 999 h 9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00" h="999">
                    <a:moveTo>
                      <a:pt x="1042" y="669"/>
                    </a:moveTo>
                    <a:cubicBezTo>
                      <a:pt x="1043" y="664"/>
                      <a:pt x="1044" y="658"/>
                      <a:pt x="1046" y="653"/>
                    </a:cubicBezTo>
                    <a:cubicBezTo>
                      <a:pt x="1047" y="651"/>
                      <a:pt x="1050" y="647"/>
                      <a:pt x="1050" y="647"/>
                    </a:cubicBezTo>
                    <a:lnTo>
                      <a:pt x="1100" y="589"/>
                    </a:lnTo>
                    <a:lnTo>
                      <a:pt x="1022" y="535"/>
                    </a:lnTo>
                    <a:lnTo>
                      <a:pt x="996" y="421"/>
                    </a:lnTo>
                    <a:lnTo>
                      <a:pt x="932" y="371"/>
                    </a:lnTo>
                    <a:lnTo>
                      <a:pt x="996" y="235"/>
                    </a:lnTo>
                    <a:lnTo>
                      <a:pt x="918" y="183"/>
                    </a:lnTo>
                    <a:lnTo>
                      <a:pt x="898" y="115"/>
                    </a:lnTo>
                    <a:lnTo>
                      <a:pt x="906" y="81"/>
                    </a:lnTo>
                    <a:lnTo>
                      <a:pt x="918" y="45"/>
                    </a:lnTo>
                    <a:lnTo>
                      <a:pt x="964" y="0"/>
                    </a:lnTo>
                    <a:lnTo>
                      <a:pt x="764" y="5"/>
                    </a:lnTo>
                    <a:lnTo>
                      <a:pt x="670" y="105"/>
                    </a:lnTo>
                    <a:lnTo>
                      <a:pt x="510" y="90"/>
                    </a:lnTo>
                    <a:lnTo>
                      <a:pt x="454" y="169"/>
                    </a:lnTo>
                    <a:lnTo>
                      <a:pt x="346" y="219"/>
                    </a:lnTo>
                    <a:lnTo>
                      <a:pt x="314" y="297"/>
                    </a:lnTo>
                    <a:lnTo>
                      <a:pt x="236" y="283"/>
                    </a:lnTo>
                    <a:lnTo>
                      <a:pt x="176" y="359"/>
                    </a:lnTo>
                    <a:lnTo>
                      <a:pt x="0" y="407"/>
                    </a:lnTo>
                    <a:lnTo>
                      <a:pt x="0" y="489"/>
                    </a:lnTo>
                    <a:lnTo>
                      <a:pt x="44" y="549"/>
                    </a:lnTo>
                    <a:lnTo>
                      <a:pt x="88" y="561"/>
                    </a:lnTo>
                    <a:lnTo>
                      <a:pt x="114" y="595"/>
                    </a:lnTo>
                    <a:lnTo>
                      <a:pt x="122" y="651"/>
                    </a:lnTo>
                    <a:lnTo>
                      <a:pt x="37" y="737"/>
                    </a:lnTo>
                    <a:lnTo>
                      <a:pt x="98" y="783"/>
                    </a:lnTo>
                    <a:lnTo>
                      <a:pt x="150" y="873"/>
                    </a:lnTo>
                    <a:lnTo>
                      <a:pt x="256" y="883"/>
                    </a:lnTo>
                    <a:lnTo>
                      <a:pt x="328" y="841"/>
                    </a:lnTo>
                    <a:lnTo>
                      <a:pt x="372" y="839"/>
                    </a:lnTo>
                    <a:lnTo>
                      <a:pt x="462" y="897"/>
                    </a:lnTo>
                    <a:lnTo>
                      <a:pt x="478" y="999"/>
                    </a:lnTo>
                    <a:lnTo>
                      <a:pt x="624" y="991"/>
                    </a:lnTo>
                    <a:lnTo>
                      <a:pt x="698" y="929"/>
                    </a:lnTo>
                    <a:lnTo>
                      <a:pt x="730" y="837"/>
                    </a:lnTo>
                    <a:lnTo>
                      <a:pt x="692" y="791"/>
                    </a:lnTo>
                    <a:lnTo>
                      <a:pt x="722" y="767"/>
                    </a:lnTo>
                    <a:lnTo>
                      <a:pt x="794" y="789"/>
                    </a:lnTo>
                    <a:lnTo>
                      <a:pt x="836" y="715"/>
                    </a:lnTo>
                    <a:lnTo>
                      <a:pt x="928" y="695"/>
                    </a:lnTo>
                    <a:lnTo>
                      <a:pt x="1054" y="680"/>
                    </a:lnTo>
                    <a:cubicBezTo>
                      <a:pt x="1050" y="676"/>
                      <a:pt x="1046" y="673"/>
                      <a:pt x="1042" y="669"/>
                    </a:cubicBez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1" name="Freeform 90"/>
              <p:cNvSpPr>
                <a:spLocks/>
              </p:cNvSpPr>
              <p:nvPr/>
            </p:nvSpPr>
            <p:spPr bwMode="auto">
              <a:xfrm>
                <a:off x="3292" y="2921"/>
                <a:ext cx="143" cy="98"/>
              </a:xfrm>
              <a:custGeom>
                <a:avLst/>
                <a:gdLst>
                  <a:gd name="T0" fmla="*/ 0 w 758"/>
                  <a:gd name="T1" fmla="*/ 0 h 526"/>
                  <a:gd name="T2" fmla="*/ 0 w 758"/>
                  <a:gd name="T3" fmla="*/ 0 h 526"/>
                  <a:gd name="T4" fmla="*/ 0 w 758"/>
                  <a:gd name="T5" fmla="*/ 0 h 526"/>
                  <a:gd name="T6" fmla="*/ 0 w 758"/>
                  <a:gd name="T7" fmla="*/ 0 h 526"/>
                  <a:gd name="T8" fmla="*/ 0 w 758"/>
                  <a:gd name="T9" fmla="*/ 0 h 526"/>
                  <a:gd name="T10" fmla="*/ 0 w 758"/>
                  <a:gd name="T11" fmla="*/ 0 h 526"/>
                  <a:gd name="T12" fmla="*/ 0 w 758"/>
                  <a:gd name="T13" fmla="*/ 0 h 526"/>
                  <a:gd name="T14" fmla="*/ 0 w 758"/>
                  <a:gd name="T15" fmla="*/ 0 h 526"/>
                  <a:gd name="T16" fmla="*/ 0 w 758"/>
                  <a:gd name="T17" fmla="*/ 0 h 526"/>
                  <a:gd name="T18" fmla="*/ 0 w 758"/>
                  <a:gd name="T19" fmla="*/ 0 h 526"/>
                  <a:gd name="T20" fmla="*/ 0 w 758"/>
                  <a:gd name="T21" fmla="*/ 0 h 526"/>
                  <a:gd name="T22" fmla="*/ 0 w 758"/>
                  <a:gd name="T23" fmla="*/ 0 h 526"/>
                  <a:gd name="T24" fmla="*/ 0 w 758"/>
                  <a:gd name="T25" fmla="*/ 0 h 526"/>
                  <a:gd name="T26" fmla="*/ 0 w 758"/>
                  <a:gd name="T27" fmla="*/ 0 h 526"/>
                  <a:gd name="T28" fmla="*/ 0 w 758"/>
                  <a:gd name="T29" fmla="*/ 0 h 526"/>
                  <a:gd name="T30" fmla="*/ 0 w 758"/>
                  <a:gd name="T31" fmla="*/ 0 h 526"/>
                  <a:gd name="T32" fmla="*/ 0 w 758"/>
                  <a:gd name="T33" fmla="*/ 0 h 526"/>
                  <a:gd name="T34" fmla="*/ 0 w 758"/>
                  <a:gd name="T35" fmla="*/ 0 h 526"/>
                  <a:gd name="T36" fmla="*/ 0 w 758"/>
                  <a:gd name="T37" fmla="*/ 0 h 526"/>
                  <a:gd name="T38" fmla="*/ 0 w 758"/>
                  <a:gd name="T39" fmla="*/ 0 h 526"/>
                  <a:gd name="T40" fmla="*/ 0 w 758"/>
                  <a:gd name="T41" fmla="*/ 0 h 526"/>
                  <a:gd name="T42" fmla="*/ 0 w 758"/>
                  <a:gd name="T43" fmla="*/ 0 h 526"/>
                  <a:gd name="T44" fmla="*/ 0 w 758"/>
                  <a:gd name="T45" fmla="*/ 0 h 526"/>
                  <a:gd name="T46" fmla="*/ 0 w 758"/>
                  <a:gd name="T47" fmla="*/ 0 h 526"/>
                  <a:gd name="T48" fmla="*/ 0 w 758"/>
                  <a:gd name="T49" fmla="*/ 0 h 526"/>
                  <a:gd name="T50" fmla="*/ 0 w 758"/>
                  <a:gd name="T51" fmla="*/ 0 h 5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58"/>
                  <a:gd name="T79" fmla="*/ 0 h 526"/>
                  <a:gd name="T80" fmla="*/ 758 w 758"/>
                  <a:gd name="T81" fmla="*/ 526 h 5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58" h="526">
                    <a:moveTo>
                      <a:pt x="574" y="0"/>
                    </a:moveTo>
                    <a:lnTo>
                      <a:pt x="674" y="48"/>
                    </a:lnTo>
                    <a:lnTo>
                      <a:pt x="664" y="88"/>
                    </a:lnTo>
                    <a:lnTo>
                      <a:pt x="652" y="104"/>
                    </a:lnTo>
                    <a:lnTo>
                      <a:pt x="662" y="164"/>
                    </a:lnTo>
                    <a:lnTo>
                      <a:pt x="742" y="164"/>
                    </a:lnTo>
                    <a:lnTo>
                      <a:pt x="758" y="194"/>
                    </a:lnTo>
                    <a:lnTo>
                      <a:pt x="662" y="324"/>
                    </a:lnTo>
                    <a:lnTo>
                      <a:pt x="606" y="298"/>
                    </a:lnTo>
                    <a:lnTo>
                      <a:pt x="524" y="300"/>
                    </a:lnTo>
                    <a:lnTo>
                      <a:pt x="524" y="352"/>
                    </a:lnTo>
                    <a:lnTo>
                      <a:pt x="408" y="466"/>
                    </a:lnTo>
                    <a:lnTo>
                      <a:pt x="402" y="526"/>
                    </a:lnTo>
                    <a:lnTo>
                      <a:pt x="136" y="526"/>
                    </a:lnTo>
                    <a:lnTo>
                      <a:pt x="80" y="472"/>
                    </a:lnTo>
                    <a:lnTo>
                      <a:pt x="0" y="468"/>
                    </a:lnTo>
                    <a:lnTo>
                      <a:pt x="70" y="372"/>
                    </a:lnTo>
                    <a:lnTo>
                      <a:pt x="152" y="318"/>
                    </a:lnTo>
                    <a:lnTo>
                      <a:pt x="226" y="254"/>
                    </a:lnTo>
                    <a:lnTo>
                      <a:pt x="258" y="160"/>
                    </a:lnTo>
                    <a:lnTo>
                      <a:pt x="224" y="116"/>
                    </a:lnTo>
                    <a:lnTo>
                      <a:pt x="250" y="90"/>
                    </a:lnTo>
                    <a:lnTo>
                      <a:pt x="322" y="112"/>
                    </a:lnTo>
                    <a:lnTo>
                      <a:pt x="362" y="38"/>
                    </a:lnTo>
                    <a:lnTo>
                      <a:pt x="462" y="18"/>
                    </a:lnTo>
                    <a:lnTo>
                      <a:pt x="574"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2" name="Freeform 91"/>
              <p:cNvSpPr>
                <a:spLocks/>
              </p:cNvSpPr>
              <p:nvPr/>
            </p:nvSpPr>
            <p:spPr bwMode="auto">
              <a:xfrm>
                <a:off x="3414" y="2903"/>
                <a:ext cx="112" cy="58"/>
              </a:xfrm>
              <a:custGeom>
                <a:avLst/>
                <a:gdLst>
                  <a:gd name="T0" fmla="*/ 0 w 592"/>
                  <a:gd name="T1" fmla="*/ 0 h 312"/>
                  <a:gd name="T2" fmla="*/ 0 w 592"/>
                  <a:gd name="T3" fmla="*/ 0 h 312"/>
                  <a:gd name="T4" fmla="*/ 0 w 592"/>
                  <a:gd name="T5" fmla="*/ 0 h 312"/>
                  <a:gd name="T6" fmla="*/ 0 w 592"/>
                  <a:gd name="T7" fmla="*/ 0 h 312"/>
                  <a:gd name="T8" fmla="*/ 0 w 592"/>
                  <a:gd name="T9" fmla="*/ 0 h 312"/>
                  <a:gd name="T10" fmla="*/ 0 w 592"/>
                  <a:gd name="T11" fmla="*/ 0 h 312"/>
                  <a:gd name="T12" fmla="*/ 0 w 592"/>
                  <a:gd name="T13" fmla="*/ 0 h 312"/>
                  <a:gd name="T14" fmla="*/ 0 w 592"/>
                  <a:gd name="T15" fmla="*/ 0 h 312"/>
                  <a:gd name="T16" fmla="*/ 0 w 592"/>
                  <a:gd name="T17" fmla="*/ 0 h 312"/>
                  <a:gd name="T18" fmla="*/ 0 w 592"/>
                  <a:gd name="T19" fmla="*/ 0 h 312"/>
                  <a:gd name="T20" fmla="*/ 0 w 592"/>
                  <a:gd name="T21" fmla="*/ 0 h 312"/>
                  <a:gd name="T22" fmla="*/ 0 w 592"/>
                  <a:gd name="T23" fmla="*/ 0 h 312"/>
                  <a:gd name="T24" fmla="*/ 0 w 592"/>
                  <a:gd name="T25" fmla="*/ 0 h 312"/>
                  <a:gd name="T26" fmla="*/ 0 w 592"/>
                  <a:gd name="T27" fmla="*/ 0 h 312"/>
                  <a:gd name="T28" fmla="*/ 0 w 592"/>
                  <a:gd name="T29" fmla="*/ 0 h 312"/>
                  <a:gd name="T30" fmla="*/ 0 w 592"/>
                  <a:gd name="T31" fmla="*/ 0 h 312"/>
                  <a:gd name="T32" fmla="*/ 0 w 592"/>
                  <a:gd name="T33" fmla="*/ 0 h 312"/>
                  <a:gd name="T34" fmla="*/ 0 w 592"/>
                  <a:gd name="T35" fmla="*/ 0 h 312"/>
                  <a:gd name="T36" fmla="*/ 0 w 592"/>
                  <a:gd name="T37" fmla="*/ 0 h 312"/>
                  <a:gd name="T38" fmla="*/ 0 w 592"/>
                  <a:gd name="T39" fmla="*/ 0 h 3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2"/>
                  <a:gd name="T61" fmla="*/ 0 h 312"/>
                  <a:gd name="T62" fmla="*/ 592 w 592"/>
                  <a:gd name="T63" fmla="*/ 312 h 3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2" h="312">
                    <a:moveTo>
                      <a:pt x="438" y="0"/>
                    </a:moveTo>
                    <a:lnTo>
                      <a:pt x="492" y="66"/>
                    </a:lnTo>
                    <a:lnTo>
                      <a:pt x="544" y="180"/>
                    </a:lnTo>
                    <a:lnTo>
                      <a:pt x="592" y="288"/>
                    </a:lnTo>
                    <a:lnTo>
                      <a:pt x="518" y="312"/>
                    </a:lnTo>
                    <a:lnTo>
                      <a:pt x="410" y="286"/>
                    </a:lnTo>
                    <a:lnTo>
                      <a:pt x="358" y="244"/>
                    </a:lnTo>
                    <a:lnTo>
                      <a:pt x="342" y="206"/>
                    </a:lnTo>
                    <a:lnTo>
                      <a:pt x="266" y="206"/>
                    </a:lnTo>
                    <a:lnTo>
                      <a:pt x="260" y="270"/>
                    </a:lnTo>
                    <a:lnTo>
                      <a:pt x="208" y="306"/>
                    </a:lnTo>
                    <a:lnTo>
                      <a:pt x="106" y="296"/>
                    </a:lnTo>
                    <a:lnTo>
                      <a:pt x="92" y="262"/>
                    </a:lnTo>
                    <a:lnTo>
                      <a:pt x="14" y="262"/>
                    </a:lnTo>
                    <a:lnTo>
                      <a:pt x="0" y="206"/>
                    </a:lnTo>
                    <a:lnTo>
                      <a:pt x="12" y="184"/>
                    </a:lnTo>
                    <a:lnTo>
                      <a:pt x="22" y="140"/>
                    </a:lnTo>
                    <a:lnTo>
                      <a:pt x="50" y="150"/>
                    </a:lnTo>
                    <a:lnTo>
                      <a:pt x="336" y="58"/>
                    </a:lnTo>
                    <a:lnTo>
                      <a:pt x="438"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3" name="Freeform 92"/>
              <p:cNvSpPr>
                <a:spLocks/>
              </p:cNvSpPr>
              <p:nvPr/>
            </p:nvSpPr>
            <p:spPr bwMode="auto">
              <a:xfrm>
                <a:off x="3417" y="2941"/>
                <a:ext cx="118" cy="93"/>
              </a:xfrm>
              <a:custGeom>
                <a:avLst/>
                <a:gdLst>
                  <a:gd name="T0" fmla="*/ 0 w 630"/>
                  <a:gd name="T1" fmla="*/ 0 h 504"/>
                  <a:gd name="T2" fmla="*/ 0 w 630"/>
                  <a:gd name="T3" fmla="*/ 0 h 504"/>
                  <a:gd name="T4" fmla="*/ 0 w 630"/>
                  <a:gd name="T5" fmla="*/ 0 h 504"/>
                  <a:gd name="T6" fmla="*/ 0 w 630"/>
                  <a:gd name="T7" fmla="*/ 0 h 504"/>
                  <a:gd name="T8" fmla="*/ 0 w 630"/>
                  <a:gd name="T9" fmla="*/ 0 h 504"/>
                  <a:gd name="T10" fmla="*/ 0 w 630"/>
                  <a:gd name="T11" fmla="*/ 0 h 504"/>
                  <a:gd name="T12" fmla="*/ 0 w 630"/>
                  <a:gd name="T13" fmla="*/ 0 h 504"/>
                  <a:gd name="T14" fmla="*/ 0 w 630"/>
                  <a:gd name="T15" fmla="*/ 0 h 504"/>
                  <a:gd name="T16" fmla="*/ 0 w 630"/>
                  <a:gd name="T17" fmla="*/ 0 h 504"/>
                  <a:gd name="T18" fmla="*/ 0 w 630"/>
                  <a:gd name="T19" fmla="*/ 0 h 504"/>
                  <a:gd name="T20" fmla="*/ 0 w 630"/>
                  <a:gd name="T21" fmla="*/ 0 h 504"/>
                  <a:gd name="T22" fmla="*/ 0 w 630"/>
                  <a:gd name="T23" fmla="*/ 0 h 504"/>
                  <a:gd name="T24" fmla="*/ 0 w 630"/>
                  <a:gd name="T25" fmla="*/ 0 h 504"/>
                  <a:gd name="T26" fmla="*/ 0 w 630"/>
                  <a:gd name="T27" fmla="*/ 0 h 504"/>
                  <a:gd name="T28" fmla="*/ 0 w 630"/>
                  <a:gd name="T29" fmla="*/ 0 h 504"/>
                  <a:gd name="T30" fmla="*/ 0 w 630"/>
                  <a:gd name="T31" fmla="*/ 0 h 504"/>
                  <a:gd name="T32" fmla="*/ 0 w 630"/>
                  <a:gd name="T33" fmla="*/ 0 h 504"/>
                  <a:gd name="T34" fmla="*/ 0 w 630"/>
                  <a:gd name="T35" fmla="*/ 0 h 504"/>
                  <a:gd name="T36" fmla="*/ 0 w 630"/>
                  <a:gd name="T37" fmla="*/ 0 h 504"/>
                  <a:gd name="T38" fmla="*/ 0 w 630"/>
                  <a:gd name="T39" fmla="*/ 0 h 504"/>
                  <a:gd name="T40" fmla="*/ 0 w 630"/>
                  <a:gd name="T41" fmla="*/ 0 h 504"/>
                  <a:gd name="T42" fmla="*/ 0 w 630"/>
                  <a:gd name="T43" fmla="*/ 0 h 504"/>
                  <a:gd name="T44" fmla="*/ 0 w 630"/>
                  <a:gd name="T45" fmla="*/ 0 h 504"/>
                  <a:gd name="T46" fmla="*/ 0 w 630"/>
                  <a:gd name="T47" fmla="*/ 0 h 504"/>
                  <a:gd name="T48" fmla="*/ 0 w 630"/>
                  <a:gd name="T49" fmla="*/ 0 h 50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0"/>
                  <a:gd name="T76" fmla="*/ 0 h 504"/>
                  <a:gd name="T77" fmla="*/ 630 w 630"/>
                  <a:gd name="T78" fmla="*/ 504 h 50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0" h="504">
                    <a:moveTo>
                      <a:pt x="580" y="84"/>
                    </a:moveTo>
                    <a:lnTo>
                      <a:pt x="616" y="188"/>
                    </a:lnTo>
                    <a:lnTo>
                      <a:pt x="630" y="382"/>
                    </a:lnTo>
                    <a:lnTo>
                      <a:pt x="530" y="446"/>
                    </a:lnTo>
                    <a:lnTo>
                      <a:pt x="404" y="460"/>
                    </a:lnTo>
                    <a:lnTo>
                      <a:pt x="346" y="498"/>
                    </a:lnTo>
                    <a:lnTo>
                      <a:pt x="234" y="482"/>
                    </a:lnTo>
                    <a:lnTo>
                      <a:pt x="150" y="504"/>
                    </a:lnTo>
                    <a:lnTo>
                      <a:pt x="118" y="424"/>
                    </a:lnTo>
                    <a:lnTo>
                      <a:pt x="188" y="402"/>
                    </a:lnTo>
                    <a:lnTo>
                      <a:pt x="192" y="358"/>
                    </a:lnTo>
                    <a:lnTo>
                      <a:pt x="140" y="354"/>
                    </a:lnTo>
                    <a:lnTo>
                      <a:pt x="92" y="370"/>
                    </a:lnTo>
                    <a:lnTo>
                      <a:pt x="56" y="298"/>
                    </a:lnTo>
                    <a:lnTo>
                      <a:pt x="8" y="286"/>
                    </a:lnTo>
                    <a:lnTo>
                      <a:pt x="0" y="218"/>
                    </a:lnTo>
                    <a:lnTo>
                      <a:pt x="92" y="88"/>
                    </a:lnTo>
                    <a:lnTo>
                      <a:pt x="192" y="100"/>
                    </a:lnTo>
                    <a:lnTo>
                      <a:pt x="244" y="66"/>
                    </a:lnTo>
                    <a:lnTo>
                      <a:pt x="252" y="2"/>
                    </a:lnTo>
                    <a:lnTo>
                      <a:pt x="330" y="0"/>
                    </a:lnTo>
                    <a:lnTo>
                      <a:pt x="346" y="40"/>
                    </a:lnTo>
                    <a:lnTo>
                      <a:pt x="400" y="84"/>
                    </a:lnTo>
                    <a:lnTo>
                      <a:pt x="504" y="108"/>
                    </a:lnTo>
                    <a:lnTo>
                      <a:pt x="580" y="8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4" name="Freeform 93"/>
              <p:cNvSpPr>
                <a:spLocks/>
              </p:cNvSpPr>
              <p:nvPr/>
            </p:nvSpPr>
            <p:spPr bwMode="auto">
              <a:xfrm>
                <a:off x="3349" y="2976"/>
                <a:ext cx="91" cy="114"/>
              </a:xfrm>
              <a:custGeom>
                <a:avLst/>
                <a:gdLst>
                  <a:gd name="T0" fmla="*/ 0 w 486"/>
                  <a:gd name="T1" fmla="*/ 0 h 616"/>
                  <a:gd name="T2" fmla="*/ 0 w 486"/>
                  <a:gd name="T3" fmla="*/ 0 h 616"/>
                  <a:gd name="T4" fmla="*/ 0 w 486"/>
                  <a:gd name="T5" fmla="*/ 0 h 616"/>
                  <a:gd name="T6" fmla="*/ 0 w 486"/>
                  <a:gd name="T7" fmla="*/ 0 h 616"/>
                  <a:gd name="T8" fmla="*/ 0 w 486"/>
                  <a:gd name="T9" fmla="*/ 0 h 616"/>
                  <a:gd name="T10" fmla="*/ 0 w 486"/>
                  <a:gd name="T11" fmla="*/ 0 h 616"/>
                  <a:gd name="T12" fmla="*/ 0 w 486"/>
                  <a:gd name="T13" fmla="*/ 0 h 616"/>
                  <a:gd name="T14" fmla="*/ 0 w 486"/>
                  <a:gd name="T15" fmla="*/ 0 h 616"/>
                  <a:gd name="T16" fmla="*/ 0 w 486"/>
                  <a:gd name="T17" fmla="*/ 0 h 616"/>
                  <a:gd name="T18" fmla="*/ 0 w 486"/>
                  <a:gd name="T19" fmla="*/ 0 h 616"/>
                  <a:gd name="T20" fmla="*/ 0 w 486"/>
                  <a:gd name="T21" fmla="*/ 0 h 616"/>
                  <a:gd name="T22" fmla="*/ 0 w 486"/>
                  <a:gd name="T23" fmla="*/ 0 h 616"/>
                  <a:gd name="T24" fmla="*/ 0 w 486"/>
                  <a:gd name="T25" fmla="*/ 0 h 616"/>
                  <a:gd name="T26" fmla="*/ 0 w 486"/>
                  <a:gd name="T27" fmla="*/ 0 h 616"/>
                  <a:gd name="T28" fmla="*/ 0 w 486"/>
                  <a:gd name="T29" fmla="*/ 0 h 616"/>
                  <a:gd name="T30" fmla="*/ 0 w 486"/>
                  <a:gd name="T31" fmla="*/ 0 h 616"/>
                  <a:gd name="T32" fmla="*/ 0 w 486"/>
                  <a:gd name="T33" fmla="*/ 0 h 616"/>
                  <a:gd name="T34" fmla="*/ 0 w 486"/>
                  <a:gd name="T35" fmla="*/ 0 h 616"/>
                  <a:gd name="T36" fmla="*/ 0 w 486"/>
                  <a:gd name="T37" fmla="*/ 0 h 616"/>
                  <a:gd name="T38" fmla="*/ 0 w 486"/>
                  <a:gd name="T39" fmla="*/ 0 h 616"/>
                  <a:gd name="T40" fmla="*/ 0 w 486"/>
                  <a:gd name="T41" fmla="*/ 0 h 616"/>
                  <a:gd name="T42" fmla="*/ 0 w 486"/>
                  <a:gd name="T43" fmla="*/ 0 h 616"/>
                  <a:gd name="T44" fmla="*/ 0 w 486"/>
                  <a:gd name="T45" fmla="*/ 0 h 616"/>
                  <a:gd name="T46" fmla="*/ 0 w 486"/>
                  <a:gd name="T47" fmla="*/ 0 h 616"/>
                  <a:gd name="T48" fmla="*/ 0 w 486"/>
                  <a:gd name="T49" fmla="*/ 0 h 616"/>
                  <a:gd name="T50" fmla="*/ 0 w 486"/>
                  <a:gd name="T51" fmla="*/ 0 h 616"/>
                  <a:gd name="T52" fmla="*/ 0 w 486"/>
                  <a:gd name="T53" fmla="*/ 0 h 616"/>
                  <a:gd name="T54" fmla="*/ 0 w 486"/>
                  <a:gd name="T55" fmla="*/ 0 h 616"/>
                  <a:gd name="T56" fmla="*/ 0 w 486"/>
                  <a:gd name="T57" fmla="*/ 0 h 616"/>
                  <a:gd name="T58" fmla="*/ 0 w 486"/>
                  <a:gd name="T59" fmla="*/ 0 h 616"/>
                  <a:gd name="T60" fmla="*/ 0 w 486"/>
                  <a:gd name="T61" fmla="*/ 0 h 6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86"/>
                  <a:gd name="T94" fmla="*/ 0 h 616"/>
                  <a:gd name="T95" fmla="*/ 486 w 486"/>
                  <a:gd name="T96" fmla="*/ 616 h 6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86" h="616">
                    <a:moveTo>
                      <a:pt x="450" y="176"/>
                    </a:moveTo>
                    <a:lnTo>
                      <a:pt x="394" y="212"/>
                    </a:lnTo>
                    <a:lnTo>
                      <a:pt x="324" y="244"/>
                    </a:lnTo>
                    <a:lnTo>
                      <a:pt x="312" y="280"/>
                    </a:lnTo>
                    <a:lnTo>
                      <a:pt x="434" y="404"/>
                    </a:lnTo>
                    <a:lnTo>
                      <a:pt x="432" y="434"/>
                    </a:lnTo>
                    <a:lnTo>
                      <a:pt x="486" y="460"/>
                    </a:lnTo>
                    <a:lnTo>
                      <a:pt x="454" y="488"/>
                    </a:lnTo>
                    <a:lnTo>
                      <a:pt x="446" y="600"/>
                    </a:lnTo>
                    <a:lnTo>
                      <a:pt x="398" y="600"/>
                    </a:lnTo>
                    <a:lnTo>
                      <a:pt x="364" y="576"/>
                    </a:lnTo>
                    <a:lnTo>
                      <a:pt x="308" y="574"/>
                    </a:lnTo>
                    <a:lnTo>
                      <a:pt x="244" y="616"/>
                    </a:lnTo>
                    <a:lnTo>
                      <a:pt x="184" y="592"/>
                    </a:lnTo>
                    <a:lnTo>
                      <a:pt x="120" y="574"/>
                    </a:lnTo>
                    <a:lnTo>
                      <a:pt x="0" y="561"/>
                    </a:lnTo>
                    <a:lnTo>
                      <a:pt x="34" y="510"/>
                    </a:lnTo>
                    <a:lnTo>
                      <a:pt x="98" y="458"/>
                    </a:lnTo>
                    <a:lnTo>
                      <a:pt x="86" y="404"/>
                    </a:lnTo>
                    <a:lnTo>
                      <a:pt x="110" y="354"/>
                    </a:lnTo>
                    <a:lnTo>
                      <a:pt x="152" y="332"/>
                    </a:lnTo>
                    <a:lnTo>
                      <a:pt x="148" y="276"/>
                    </a:lnTo>
                    <a:lnTo>
                      <a:pt x="98" y="224"/>
                    </a:lnTo>
                    <a:lnTo>
                      <a:pt x="102" y="172"/>
                    </a:lnTo>
                    <a:lnTo>
                      <a:pt x="216" y="56"/>
                    </a:lnTo>
                    <a:lnTo>
                      <a:pt x="220" y="2"/>
                    </a:lnTo>
                    <a:lnTo>
                      <a:pt x="300" y="0"/>
                    </a:lnTo>
                    <a:lnTo>
                      <a:pt x="360" y="24"/>
                    </a:lnTo>
                    <a:lnTo>
                      <a:pt x="366" y="90"/>
                    </a:lnTo>
                    <a:lnTo>
                      <a:pt x="416" y="104"/>
                    </a:lnTo>
                    <a:lnTo>
                      <a:pt x="450" y="17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5" name="Freeform 94"/>
              <p:cNvSpPr>
                <a:spLocks/>
              </p:cNvSpPr>
              <p:nvPr/>
            </p:nvSpPr>
            <p:spPr bwMode="auto">
              <a:xfrm>
                <a:off x="3235" y="3008"/>
                <a:ext cx="149" cy="145"/>
              </a:xfrm>
              <a:custGeom>
                <a:avLst/>
                <a:gdLst>
                  <a:gd name="T0" fmla="*/ 0 w 786"/>
                  <a:gd name="T1" fmla="*/ 0 h 784"/>
                  <a:gd name="T2" fmla="*/ 0 w 786"/>
                  <a:gd name="T3" fmla="*/ 0 h 784"/>
                  <a:gd name="T4" fmla="*/ 0 w 786"/>
                  <a:gd name="T5" fmla="*/ 0 h 784"/>
                  <a:gd name="T6" fmla="*/ 0 w 786"/>
                  <a:gd name="T7" fmla="*/ 0 h 784"/>
                  <a:gd name="T8" fmla="*/ 0 w 786"/>
                  <a:gd name="T9" fmla="*/ 0 h 784"/>
                  <a:gd name="T10" fmla="*/ 0 w 786"/>
                  <a:gd name="T11" fmla="*/ 0 h 784"/>
                  <a:gd name="T12" fmla="*/ 0 w 786"/>
                  <a:gd name="T13" fmla="*/ 0 h 784"/>
                  <a:gd name="T14" fmla="*/ 0 w 786"/>
                  <a:gd name="T15" fmla="*/ 0 h 784"/>
                  <a:gd name="T16" fmla="*/ 0 w 786"/>
                  <a:gd name="T17" fmla="*/ 0 h 784"/>
                  <a:gd name="T18" fmla="*/ 0 w 786"/>
                  <a:gd name="T19" fmla="*/ 0 h 784"/>
                  <a:gd name="T20" fmla="*/ 0 w 786"/>
                  <a:gd name="T21" fmla="*/ 0 h 784"/>
                  <a:gd name="T22" fmla="*/ 0 w 786"/>
                  <a:gd name="T23" fmla="*/ 0 h 784"/>
                  <a:gd name="T24" fmla="*/ 0 w 786"/>
                  <a:gd name="T25" fmla="*/ 0 h 784"/>
                  <a:gd name="T26" fmla="*/ 0 w 786"/>
                  <a:gd name="T27" fmla="*/ 0 h 784"/>
                  <a:gd name="T28" fmla="*/ 0 w 786"/>
                  <a:gd name="T29" fmla="*/ 0 h 784"/>
                  <a:gd name="T30" fmla="*/ 0 w 786"/>
                  <a:gd name="T31" fmla="*/ 0 h 784"/>
                  <a:gd name="T32" fmla="*/ 0 w 786"/>
                  <a:gd name="T33" fmla="*/ 0 h 784"/>
                  <a:gd name="T34" fmla="*/ 0 w 786"/>
                  <a:gd name="T35" fmla="*/ 0 h 784"/>
                  <a:gd name="T36" fmla="*/ 0 w 786"/>
                  <a:gd name="T37" fmla="*/ 0 h 784"/>
                  <a:gd name="T38" fmla="*/ 0 w 786"/>
                  <a:gd name="T39" fmla="*/ 0 h 784"/>
                  <a:gd name="T40" fmla="*/ 0 w 786"/>
                  <a:gd name="T41" fmla="*/ 0 h 784"/>
                  <a:gd name="T42" fmla="*/ 0 w 786"/>
                  <a:gd name="T43" fmla="*/ 0 h 784"/>
                  <a:gd name="T44" fmla="*/ 0 w 786"/>
                  <a:gd name="T45" fmla="*/ 0 h 784"/>
                  <a:gd name="T46" fmla="*/ 0 w 786"/>
                  <a:gd name="T47" fmla="*/ 0 h 784"/>
                  <a:gd name="T48" fmla="*/ 0 w 786"/>
                  <a:gd name="T49" fmla="*/ 0 h 784"/>
                  <a:gd name="T50" fmla="*/ 0 w 786"/>
                  <a:gd name="T51" fmla="*/ 0 h 784"/>
                  <a:gd name="T52" fmla="*/ 0 w 786"/>
                  <a:gd name="T53" fmla="*/ 0 h 784"/>
                  <a:gd name="T54" fmla="*/ 0 w 786"/>
                  <a:gd name="T55" fmla="*/ 0 h 784"/>
                  <a:gd name="T56" fmla="*/ 0 w 786"/>
                  <a:gd name="T57" fmla="*/ 0 h 784"/>
                  <a:gd name="T58" fmla="*/ 0 w 786"/>
                  <a:gd name="T59" fmla="*/ 0 h 784"/>
                  <a:gd name="T60" fmla="*/ 0 w 786"/>
                  <a:gd name="T61" fmla="*/ 0 h 784"/>
                  <a:gd name="T62" fmla="*/ 0 w 786"/>
                  <a:gd name="T63" fmla="*/ 0 h 784"/>
                  <a:gd name="T64" fmla="*/ 0 w 786"/>
                  <a:gd name="T65" fmla="*/ 0 h 784"/>
                  <a:gd name="T66" fmla="*/ 0 w 786"/>
                  <a:gd name="T67" fmla="*/ 0 h 784"/>
                  <a:gd name="T68" fmla="*/ 0 w 786"/>
                  <a:gd name="T69" fmla="*/ 0 h 784"/>
                  <a:gd name="T70" fmla="*/ 0 w 786"/>
                  <a:gd name="T71" fmla="*/ 0 h 784"/>
                  <a:gd name="T72" fmla="*/ 0 w 786"/>
                  <a:gd name="T73" fmla="*/ 0 h 784"/>
                  <a:gd name="T74" fmla="*/ 0 w 786"/>
                  <a:gd name="T75" fmla="*/ 0 h 7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6"/>
                  <a:gd name="T115" fmla="*/ 0 h 784"/>
                  <a:gd name="T116" fmla="*/ 786 w 786"/>
                  <a:gd name="T117" fmla="*/ 784 h 7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6" h="784">
                    <a:moveTo>
                      <a:pt x="700" y="60"/>
                    </a:moveTo>
                    <a:lnTo>
                      <a:pt x="432" y="58"/>
                    </a:lnTo>
                    <a:lnTo>
                      <a:pt x="386" y="6"/>
                    </a:lnTo>
                    <a:lnTo>
                      <a:pt x="306" y="0"/>
                    </a:lnTo>
                    <a:lnTo>
                      <a:pt x="250" y="58"/>
                    </a:lnTo>
                    <a:lnTo>
                      <a:pt x="156" y="50"/>
                    </a:lnTo>
                    <a:lnTo>
                      <a:pt x="60" y="66"/>
                    </a:lnTo>
                    <a:lnTo>
                      <a:pt x="48" y="194"/>
                    </a:lnTo>
                    <a:lnTo>
                      <a:pt x="6" y="286"/>
                    </a:lnTo>
                    <a:lnTo>
                      <a:pt x="0" y="360"/>
                    </a:lnTo>
                    <a:lnTo>
                      <a:pt x="76" y="412"/>
                    </a:lnTo>
                    <a:lnTo>
                      <a:pt x="102" y="444"/>
                    </a:lnTo>
                    <a:lnTo>
                      <a:pt x="136" y="516"/>
                    </a:lnTo>
                    <a:lnTo>
                      <a:pt x="226" y="514"/>
                    </a:lnTo>
                    <a:lnTo>
                      <a:pt x="306" y="494"/>
                    </a:lnTo>
                    <a:lnTo>
                      <a:pt x="360" y="534"/>
                    </a:lnTo>
                    <a:lnTo>
                      <a:pt x="374" y="588"/>
                    </a:lnTo>
                    <a:lnTo>
                      <a:pt x="338" y="636"/>
                    </a:lnTo>
                    <a:lnTo>
                      <a:pt x="434" y="716"/>
                    </a:lnTo>
                    <a:lnTo>
                      <a:pt x="580" y="712"/>
                    </a:lnTo>
                    <a:lnTo>
                      <a:pt x="686" y="776"/>
                    </a:lnTo>
                    <a:lnTo>
                      <a:pt x="688" y="784"/>
                    </a:lnTo>
                    <a:lnTo>
                      <a:pt x="786" y="682"/>
                    </a:lnTo>
                    <a:lnTo>
                      <a:pt x="770" y="646"/>
                    </a:lnTo>
                    <a:lnTo>
                      <a:pt x="728" y="642"/>
                    </a:lnTo>
                    <a:lnTo>
                      <a:pt x="710" y="546"/>
                    </a:lnTo>
                    <a:lnTo>
                      <a:pt x="746" y="530"/>
                    </a:lnTo>
                    <a:lnTo>
                      <a:pt x="740" y="480"/>
                    </a:lnTo>
                    <a:lnTo>
                      <a:pt x="688" y="484"/>
                    </a:lnTo>
                    <a:lnTo>
                      <a:pt x="662" y="430"/>
                    </a:lnTo>
                    <a:lnTo>
                      <a:pt x="584" y="412"/>
                    </a:lnTo>
                    <a:lnTo>
                      <a:pt x="636" y="338"/>
                    </a:lnTo>
                    <a:lnTo>
                      <a:pt x="698" y="284"/>
                    </a:lnTo>
                    <a:lnTo>
                      <a:pt x="690" y="234"/>
                    </a:lnTo>
                    <a:lnTo>
                      <a:pt x="710" y="186"/>
                    </a:lnTo>
                    <a:lnTo>
                      <a:pt x="750" y="162"/>
                    </a:lnTo>
                    <a:lnTo>
                      <a:pt x="750" y="104"/>
                    </a:lnTo>
                    <a:lnTo>
                      <a:pt x="700" y="6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6" name="Freeform 95"/>
              <p:cNvSpPr>
                <a:spLocks/>
              </p:cNvSpPr>
              <p:nvPr/>
            </p:nvSpPr>
            <p:spPr bwMode="auto">
              <a:xfrm>
                <a:off x="3185" y="2933"/>
                <a:ext cx="135" cy="142"/>
              </a:xfrm>
              <a:custGeom>
                <a:avLst/>
                <a:gdLst>
                  <a:gd name="T0" fmla="*/ 0 w 717"/>
                  <a:gd name="T1" fmla="*/ 0 h 768"/>
                  <a:gd name="T2" fmla="*/ 0 w 717"/>
                  <a:gd name="T3" fmla="*/ 0 h 768"/>
                  <a:gd name="T4" fmla="*/ 0 w 717"/>
                  <a:gd name="T5" fmla="*/ 0 h 768"/>
                  <a:gd name="T6" fmla="*/ 0 w 717"/>
                  <a:gd name="T7" fmla="*/ 0 h 768"/>
                  <a:gd name="T8" fmla="*/ 0 w 717"/>
                  <a:gd name="T9" fmla="*/ 0 h 768"/>
                  <a:gd name="T10" fmla="*/ 0 w 717"/>
                  <a:gd name="T11" fmla="*/ 0 h 768"/>
                  <a:gd name="T12" fmla="*/ 0 w 717"/>
                  <a:gd name="T13" fmla="*/ 0 h 768"/>
                  <a:gd name="T14" fmla="*/ 0 w 717"/>
                  <a:gd name="T15" fmla="*/ 0 h 768"/>
                  <a:gd name="T16" fmla="*/ 0 w 717"/>
                  <a:gd name="T17" fmla="*/ 0 h 768"/>
                  <a:gd name="T18" fmla="*/ 0 w 717"/>
                  <a:gd name="T19" fmla="*/ 0 h 768"/>
                  <a:gd name="T20" fmla="*/ 0 w 717"/>
                  <a:gd name="T21" fmla="*/ 0 h 768"/>
                  <a:gd name="T22" fmla="*/ 0 w 717"/>
                  <a:gd name="T23" fmla="*/ 0 h 768"/>
                  <a:gd name="T24" fmla="*/ 0 w 717"/>
                  <a:gd name="T25" fmla="*/ 0 h 768"/>
                  <a:gd name="T26" fmla="*/ 0 w 717"/>
                  <a:gd name="T27" fmla="*/ 0 h 768"/>
                  <a:gd name="T28" fmla="*/ 0 w 717"/>
                  <a:gd name="T29" fmla="*/ 0 h 768"/>
                  <a:gd name="T30" fmla="*/ 0 w 717"/>
                  <a:gd name="T31" fmla="*/ 0 h 768"/>
                  <a:gd name="T32" fmla="*/ 0 w 717"/>
                  <a:gd name="T33" fmla="*/ 0 h 768"/>
                  <a:gd name="T34" fmla="*/ 0 w 717"/>
                  <a:gd name="T35" fmla="*/ 0 h 768"/>
                  <a:gd name="T36" fmla="*/ 0 w 717"/>
                  <a:gd name="T37" fmla="*/ 0 h 768"/>
                  <a:gd name="T38" fmla="*/ 0 w 717"/>
                  <a:gd name="T39" fmla="*/ 0 h 768"/>
                  <a:gd name="T40" fmla="*/ 0 w 717"/>
                  <a:gd name="T41" fmla="*/ 0 h 768"/>
                  <a:gd name="T42" fmla="*/ 0 w 717"/>
                  <a:gd name="T43" fmla="*/ 0 h 768"/>
                  <a:gd name="T44" fmla="*/ 0 w 717"/>
                  <a:gd name="T45" fmla="*/ 0 h 768"/>
                  <a:gd name="T46" fmla="*/ 0 w 717"/>
                  <a:gd name="T47" fmla="*/ 0 h 768"/>
                  <a:gd name="T48" fmla="*/ 0 w 717"/>
                  <a:gd name="T49" fmla="*/ 0 h 768"/>
                  <a:gd name="T50" fmla="*/ 0 w 717"/>
                  <a:gd name="T51" fmla="*/ 0 h 768"/>
                  <a:gd name="T52" fmla="*/ 0 w 717"/>
                  <a:gd name="T53" fmla="*/ 0 h 768"/>
                  <a:gd name="T54" fmla="*/ 0 w 717"/>
                  <a:gd name="T55" fmla="*/ 0 h 768"/>
                  <a:gd name="T56" fmla="*/ 0 w 717"/>
                  <a:gd name="T57" fmla="*/ 0 h 768"/>
                  <a:gd name="T58" fmla="*/ 0 w 717"/>
                  <a:gd name="T59" fmla="*/ 0 h 76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7"/>
                  <a:gd name="T91" fmla="*/ 0 h 768"/>
                  <a:gd name="T92" fmla="*/ 717 w 717"/>
                  <a:gd name="T93" fmla="*/ 768 h 76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7" h="768">
                    <a:moveTo>
                      <a:pt x="135" y="0"/>
                    </a:moveTo>
                    <a:lnTo>
                      <a:pt x="198" y="45"/>
                    </a:lnTo>
                    <a:lnTo>
                      <a:pt x="252" y="135"/>
                    </a:lnTo>
                    <a:lnTo>
                      <a:pt x="357" y="150"/>
                    </a:lnTo>
                    <a:lnTo>
                      <a:pt x="417" y="105"/>
                    </a:lnTo>
                    <a:lnTo>
                      <a:pt x="465" y="99"/>
                    </a:lnTo>
                    <a:lnTo>
                      <a:pt x="564" y="159"/>
                    </a:lnTo>
                    <a:lnTo>
                      <a:pt x="573" y="264"/>
                    </a:lnTo>
                    <a:lnTo>
                      <a:pt x="717" y="255"/>
                    </a:lnTo>
                    <a:lnTo>
                      <a:pt x="633" y="306"/>
                    </a:lnTo>
                    <a:lnTo>
                      <a:pt x="552" y="420"/>
                    </a:lnTo>
                    <a:lnTo>
                      <a:pt x="513" y="459"/>
                    </a:lnTo>
                    <a:lnTo>
                      <a:pt x="420" y="453"/>
                    </a:lnTo>
                    <a:lnTo>
                      <a:pt x="324" y="471"/>
                    </a:lnTo>
                    <a:lnTo>
                      <a:pt x="315" y="579"/>
                    </a:lnTo>
                    <a:lnTo>
                      <a:pt x="276" y="693"/>
                    </a:lnTo>
                    <a:lnTo>
                      <a:pt x="267" y="768"/>
                    </a:lnTo>
                    <a:lnTo>
                      <a:pt x="201" y="720"/>
                    </a:lnTo>
                    <a:lnTo>
                      <a:pt x="129" y="705"/>
                    </a:lnTo>
                    <a:lnTo>
                      <a:pt x="105" y="636"/>
                    </a:lnTo>
                    <a:lnTo>
                      <a:pt x="108" y="555"/>
                    </a:lnTo>
                    <a:lnTo>
                      <a:pt x="69" y="465"/>
                    </a:lnTo>
                    <a:lnTo>
                      <a:pt x="42" y="381"/>
                    </a:lnTo>
                    <a:lnTo>
                      <a:pt x="30" y="333"/>
                    </a:lnTo>
                    <a:lnTo>
                      <a:pt x="0" y="297"/>
                    </a:lnTo>
                    <a:lnTo>
                      <a:pt x="6" y="225"/>
                    </a:lnTo>
                    <a:lnTo>
                      <a:pt x="51" y="216"/>
                    </a:lnTo>
                    <a:lnTo>
                      <a:pt x="66" y="132"/>
                    </a:lnTo>
                    <a:lnTo>
                      <a:pt x="60" y="66"/>
                    </a:lnTo>
                    <a:lnTo>
                      <a:pt x="135"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7" name="Freeform 96"/>
              <p:cNvSpPr>
                <a:spLocks/>
              </p:cNvSpPr>
              <p:nvPr/>
            </p:nvSpPr>
            <p:spPr bwMode="auto">
              <a:xfrm>
                <a:off x="3058" y="2884"/>
                <a:ext cx="138" cy="252"/>
              </a:xfrm>
              <a:custGeom>
                <a:avLst/>
                <a:gdLst>
                  <a:gd name="T0" fmla="*/ 0 w 732"/>
                  <a:gd name="T1" fmla="*/ 0 h 1362"/>
                  <a:gd name="T2" fmla="*/ 0 w 732"/>
                  <a:gd name="T3" fmla="*/ 0 h 1362"/>
                  <a:gd name="T4" fmla="*/ 0 w 732"/>
                  <a:gd name="T5" fmla="*/ 0 h 1362"/>
                  <a:gd name="T6" fmla="*/ 0 w 732"/>
                  <a:gd name="T7" fmla="*/ 0 h 1362"/>
                  <a:gd name="T8" fmla="*/ 0 w 732"/>
                  <a:gd name="T9" fmla="*/ 0 h 1362"/>
                  <a:gd name="T10" fmla="*/ 0 w 732"/>
                  <a:gd name="T11" fmla="*/ 0 h 1362"/>
                  <a:gd name="T12" fmla="*/ 0 w 732"/>
                  <a:gd name="T13" fmla="*/ 0 h 1362"/>
                  <a:gd name="T14" fmla="*/ 0 w 732"/>
                  <a:gd name="T15" fmla="*/ 0 h 1362"/>
                  <a:gd name="T16" fmla="*/ 0 w 732"/>
                  <a:gd name="T17" fmla="*/ 0 h 1362"/>
                  <a:gd name="T18" fmla="*/ 0 w 732"/>
                  <a:gd name="T19" fmla="*/ 0 h 1362"/>
                  <a:gd name="T20" fmla="*/ 0 w 732"/>
                  <a:gd name="T21" fmla="*/ 0 h 1362"/>
                  <a:gd name="T22" fmla="*/ 0 w 732"/>
                  <a:gd name="T23" fmla="*/ 0 h 1362"/>
                  <a:gd name="T24" fmla="*/ 0 w 732"/>
                  <a:gd name="T25" fmla="*/ 0 h 1362"/>
                  <a:gd name="T26" fmla="*/ 0 w 732"/>
                  <a:gd name="T27" fmla="*/ 0 h 1362"/>
                  <a:gd name="T28" fmla="*/ 0 w 732"/>
                  <a:gd name="T29" fmla="*/ 0 h 1362"/>
                  <a:gd name="T30" fmla="*/ 0 w 732"/>
                  <a:gd name="T31" fmla="*/ 0 h 1362"/>
                  <a:gd name="T32" fmla="*/ 0 w 732"/>
                  <a:gd name="T33" fmla="*/ 0 h 1362"/>
                  <a:gd name="T34" fmla="*/ 0 w 732"/>
                  <a:gd name="T35" fmla="*/ 0 h 1362"/>
                  <a:gd name="T36" fmla="*/ 0 w 732"/>
                  <a:gd name="T37" fmla="*/ 0 h 1362"/>
                  <a:gd name="T38" fmla="*/ 0 w 732"/>
                  <a:gd name="T39" fmla="*/ 0 h 1362"/>
                  <a:gd name="T40" fmla="*/ 0 w 732"/>
                  <a:gd name="T41" fmla="*/ 0 h 1362"/>
                  <a:gd name="T42" fmla="*/ 0 w 732"/>
                  <a:gd name="T43" fmla="*/ 0 h 1362"/>
                  <a:gd name="T44" fmla="*/ 0 w 732"/>
                  <a:gd name="T45" fmla="*/ 0 h 1362"/>
                  <a:gd name="T46" fmla="*/ 0 w 732"/>
                  <a:gd name="T47" fmla="*/ 0 h 1362"/>
                  <a:gd name="T48" fmla="*/ 0 w 732"/>
                  <a:gd name="T49" fmla="*/ 0 h 1362"/>
                  <a:gd name="T50" fmla="*/ 0 w 732"/>
                  <a:gd name="T51" fmla="*/ 0 h 1362"/>
                  <a:gd name="T52" fmla="*/ 0 w 732"/>
                  <a:gd name="T53" fmla="*/ 0 h 1362"/>
                  <a:gd name="T54" fmla="*/ 0 w 732"/>
                  <a:gd name="T55" fmla="*/ 0 h 1362"/>
                  <a:gd name="T56" fmla="*/ 0 w 732"/>
                  <a:gd name="T57" fmla="*/ 0 h 1362"/>
                  <a:gd name="T58" fmla="*/ 0 w 732"/>
                  <a:gd name="T59" fmla="*/ 0 h 1362"/>
                  <a:gd name="T60" fmla="*/ 0 w 732"/>
                  <a:gd name="T61" fmla="*/ 0 h 1362"/>
                  <a:gd name="T62" fmla="*/ 0 w 732"/>
                  <a:gd name="T63" fmla="*/ 0 h 1362"/>
                  <a:gd name="T64" fmla="*/ 0 w 732"/>
                  <a:gd name="T65" fmla="*/ 0 h 1362"/>
                  <a:gd name="T66" fmla="*/ 0 w 732"/>
                  <a:gd name="T67" fmla="*/ 0 h 1362"/>
                  <a:gd name="T68" fmla="*/ 0 w 732"/>
                  <a:gd name="T69" fmla="*/ 0 h 1362"/>
                  <a:gd name="T70" fmla="*/ 0 w 732"/>
                  <a:gd name="T71" fmla="*/ 0 h 1362"/>
                  <a:gd name="T72" fmla="*/ 0 w 732"/>
                  <a:gd name="T73" fmla="*/ 0 h 1362"/>
                  <a:gd name="T74" fmla="*/ 0 w 732"/>
                  <a:gd name="T75" fmla="*/ 0 h 1362"/>
                  <a:gd name="T76" fmla="*/ 0 w 732"/>
                  <a:gd name="T77" fmla="*/ 0 h 1362"/>
                  <a:gd name="T78" fmla="*/ 0 w 732"/>
                  <a:gd name="T79" fmla="*/ 0 h 1362"/>
                  <a:gd name="T80" fmla="*/ 0 w 732"/>
                  <a:gd name="T81" fmla="*/ 0 h 1362"/>
                  <a:gd name="T82" fmla="*/ 0 w 732"/>
                  <a:gd name="T83" fmla="*/ 0 h 1362"/>
                  <a:gd name="T84" fmla="*/ 0 w 732"/>
                  <a:gd name="T85" fmla="*/ 0 h 1362"/>
                  <a:gd name="T86" fmla="*/ 0 w 732"/>
                  <a:gd name="T87" fmla="*/ 0 h 1362"/>
                  <a:gd name="T88" fmla="*/ 0 w 732"/>
                  <a:gd name="T89" fmla="*/ 0 h 13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2"/>
                  <a:gd name="T136" fmla="*/ 0 h 1362"/>
                  <a:gd name="T137" fmla="*/ 732 w 732"/>
                  <a:gd name="T138" fmla="*/ 1362 h 13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2" h="1362">
                    <a:moveTo>
                      <a:pt x="612" y="525"/>
                    </a:moveTo>
                    <a:lnTo>
                      <a:pt x="510" y="465"/>
                    </a:lnTo>
                    <a:lnTo>
                      <a:pt x="507" y="360"/>
                    </a:lnTo>
                    <a:lnTo>
                      <a:pt x="558" y="264"/>
                    </a:lnTo>
                    <a:lnTo>
                      <a:pt x="594" y="231"/>
                    </a:lnTo>
                    <a:lnTo>
                      <a:pt x="510" y="144"/>
                    </a:lnTo>
                    <a:lnTo>
                      <a:pt x="450" y="156"/>
                    </a:lnTo>
                    <a:lnTo>
                      <a:pt x="405" y="81"/>
                    </a:lnTo>
                    <a:lnTo>
                      <a:pt x="351" y="33"/>
                    </a:lnTo>
                    <a:lnTo>
                      <a:pt x="234" y="0"/>
                    </a:lnTo>
                    <a:lnTo>
                      <a:pt x="180" y="21"/>
                    </a:lnTo>
                    <a:lnTo>
                      <a:pt x="147" y="90"/>
                    </a:lnTo>
                    <a:lnTo>
                      <a:pt x="162" y="165"/>
                    </a:lnTo>
                    <a:lnTo>
                      <a:pt x="216" y="228"/>
                    </a:lnTo>
                    <a:lnTo>
                      <a:pt x="276" y="279"/>
                    </a:lnTo>
                    <a:lnTo>
                      <a:pt x="279" y="345"/>
                    </a:lnTo>
                    <a:lnTo>
                      <a:pt x="291" y="417"/>
                    </a:lnTo>
                    <a:lnTo>
                      <a:pt x="327" y="468"/>
                    </a:lnTo>
                    <a:lnTo>
                      <a:pt x="351" y="489"/>
                    </a:lnTo>
                    <a:lnTo>
                      <a:pt x="336" y="609"/>
                    </a:lnTo>
                    <a:lnTo>
                      <a:pt x="315" y="720"/>
                    </a:lnTo>
                    <a:lnTo>
                      <a:pt x="255" y="768"/>
                    </a:lnTo>
                    <a:lnTo>
                      <a:pt x="201" y="756"/>
                    </a:lnTo>
                    <a:lnTo>
                      <a:pt x="114" y="768"/>
                    </a:lnTo>
                    <a:lnTo>
                      <a:pt x="72" y="795"/>
                    </a:lnTo>
                    <a:lnTo>
                      <a:pt x="93" y="849"/>
                    </a:lnTo>
                    <a:lnTo>
                      <a:pt x="36" y="885"/>
                    </a:lnTo>
                    <a:lnTo>
                      <a:pt x="6" y="963"/>
                    </a:lnTo>
                    <a:lnTo>
                      <a:pt x="0" y="1041"/>
                    </a:lnTo>
                    <a:lnTo>
                      <a:pt x="6" y="1152"/>
                    </a:lnTo>
                    <a:lnTo>
                      <a:pt x="30" y="1248"/>
                    </a:lnTo>
                    <a:lnTo>
                      <a:pt x="84" y="1299"/>
                    </a:lnTo>
                    <a:lnTo>
                      <a:pt x="147" y="1353"/>
                    </a:lnTo>
                    <a:lnTo>
                      <a:pt x="216" y="1362"/>
                    </a:lnTo>
                    <a:lnTo>
                      <a:pt x="273" y="1290"/>
                    </a:lnTo>
                    <a:lnTo>
                      <a:pt x="459" y="1350"/>
                    </a:lnTo>
                    <a:lnTo>
                      <a:pt x="513" y="1275"/>
                    </a:lnTo>
                    <a:lnTo>
                      <a:pt x="570" y="1353"/>
                    </a:lnTo>
                    <a:lnTo>
                      <a:pt x="669" y="1296"/>
                    </a:lnTo>
                    <a:lnTo>
                      <a:pt x="732" y="1290"/>
                    </a:lnTo>
                    <a:lnTo>
                      <a:pt x="729" y="1137"/>
                    </a:lnTo>
                    <a:lnTo>
                      <a:pt x="723" y="990"/>
                    </a:lnTo>
                    <a:lnTo>
                      <a:pt x="711" y="873"/>
                    </a:lnTo>
                    <a:lnTo>
                      <a:pt x="663" y="780"/>
                    </a:lnTo>
                    <a:lnTo>
                      <a:pt x="612" y="525"/>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18" name="Freeform 97"/>
              <p:cNvSpPr>
                <a:spLocks/>
              </p:cNvSpPr>
              <p:nvPr/>
            </p:nvSpPr>
            <p:spPr bwMode="auto">
              <a:xfrm>
                <a:off x="3046" y="2771"/>
                <a:ext cx="181" cy="175"/>
              </a:xfrm>
              <a:custGeom>
                <a:avLst/>
                <a:gdLst>
                  <a:gd name="T0" fmla="*/ 0 w 960"/>
                  <a:gd name="T1" fmla="*/ 0 h 945"/>
                  <a:gd name="T2" fmla="*/ 0 w 960"/>
                  <a:gd name="T3" fmla="*/ 0 h 945"/>
                  <a:gd name="T4" fmla="*/ 0 w 960"/>
                  <a:gd name="T5" fmla="*/ 0 h 945"/>
                  <a:gd name="T6" fmla="*/ 0 w 960"/>
                  <a:gd name="T7" fmla="*/ 0 h 945"/>
                  <a:gd name="T8" fmla="*/ 0 w 960"/>
                  <a:gd name="T9" fmla="*/ 0 h 945"/>
                  <a:gd name="T10" fmla="*/ 0 w 960"/>
                  <a:gd name="T11" fmla="*/ 0 h 945"/>
                  <a:gd name="T12" fmla="*/ 0 w 960"/>
                  <a:gd name="T13" fmla="*/ 0 h 945"/>
                  <a:gd name="T14" fmla="*/ 0 w 960"/>
                  <a:gd name="T15" fmla="*/ 0 h 945"/>
                  <a:gd name="T16" fmla="*/ 0 w 960"/>
                  <a:gd name="T17" fmla="*/ 0 h 945"/>
                  <a:gd name="T18" fmla="*/ 0 w 960"/>
                  <a:gd name="T19" fmla="*/ 0 h 945"/>
                  <a:gd name="T20" fmla="*/ 0 w 960"/>
                  <a:gd name="T21" fmla="*/ 0 h 945"/>
                  <a:gd name="T22" fmla="*/ 0 w 960"/>
                  <a:gd name="T23" fmla="*/ 0 h 945"/>
                  <a:gd name="T24" fmla="*/ 0 w 960"/>
                  <a:gd name="T25" fmla="*/ 0 h 945"/>
                  <a:gd name="T26" fmla="*/ 0 w 960"/>
                  <a:gd name="T27" fmla="*/ 0 h 945"/>
                  <a:gd name="T28" fmla="*/ 0 w 960"/>
                  <a:gd name="T29" fmla="*/ 0 h 945"/>
                  <a:gd name="T30" fmla="*/ 0 w 960"/>
                  <a:gd name="T31" fmla="*/ 0 h 945"/>
                  <a:gd name="T32" fmla="*/ 0 w 960"/>
                  <a:gd name="T33" fmla="*/ 0 h 945"/>
                  <a:gd name="T34" fmla="*/ 0 w 960"/>
                  <a:gd name="T35" fmla="*/ 0 h 945"/>
                  <a:gd name="T36" fmla="*/ 0 w 960"/>
                  <a:gd name="T37" fmla="*/ 0 h 945"/>
                  <a:gd name="T38" fmla="*/ 0 w 960"/>
                  <a:gd name="T39" fmla="*/ 0 h 945"/>
                  <a:gd name="T40" fmla="*/ 0 w 960"/>
                  <a:gd name="T41" fmla="*/ 0 h 945"/>
                  <a:gd name="T42" fmla="*/ 0 w 960"/>
                  <a:gd name="T43" fmla="*/ 0 h 945"/>
                  <a:gd name="T44" fmla="*/ 0 w 960"/>
                  <a:gd name="T45" fmla="*/ 0 h 945"/>
                  <a:gd name="T46" fmla="*/ 0 w 960"/>
                  <a:gd name="T47" fmla="*/ 0 h 945"/>
                  <a:gd name="T48" fmla="*/ 0 w 960"/>
                  <a:gd name="T49" fmla="*/ 0 h 945"/>
                  <a:gd name="T50" fmla="*/ 0 w 960"/>
                  <a:gd name="T51" fmla="*/ 0 h 945"/>
                  <a:gd name="T52" fmla="*/ 0 w 960"/>
                  <a:gd name="T53" fmla="*/ 0 h 945"/>
                  <a:gd name="T54" fmla="*/ 0 w 960"/>
                  <a:gd name="T55" fmla="*/ 0 h 945"/>
                  <a:gd name="T56" fmla="*/ 0 w 960"/>
                  <a:gd name="T57" fmla="*/ 0 h 945"/>
                  <a:gd name="T58" fmla="*/ 0 w 960"/>
                  <a:gd name="T59" fmla="*/ 0 h 945"/>
                  <a:gd name="T60" fmla="*/ 0 w 960"/>
                  <a:gd name="T61" fmla="*/ 0 h 945"/>
                  <a:gd name="T62" fmla="*/ 0 w 960"/>
                  <a:gd name="T63" fmla="*/ 0 h 945"/>
                  <a:gd name="T64" fmla="*/ 0 w 960"/>
                  <a:gd name="T65" fmla="*/ 0 h 945"/>
                  <a:gd name="T66" fmla="*/ 0 w 960"/>
                  <a:gd name="T67" fmla="*/ 0 h 945"/>
                  <a:gd name="T68" fmla="*/ 0 w 960"/>
                  <a:gd name="T69" fmla="*/ 0 h 9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0"/>
                  <a:gd name="T106" fmla="*/ 0 h 945"/>
                  <a:gd name="T107" fmla="*/ 960 w 960"/>
                  <a:gd name="T108" fmla="*/ 945 h 94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0" h="945">
                    <a:moveTo>
                      <a:pt x="537" y="0"/>
                    </a:moveTo>
                    <a:lnTo>
                      <a:pt x="402" y="93"/>
                    </a:lnTo>
                    <a:lnTo>
                      <a:pt x="312" y="177"/>
                    </a:lnTo>
                    <a:lnTo>
                      <a:pt x="219" y="234"/>
                    </a:lnTo>
                    <a:lnTo>
                      <a:pt x="153" y="282"/>
                    </a:lnTo>
                    <a:lnTo>
                      <a:pt x="78" y="303"/>
                    </a:lnTo>
                    <a:lnTo>
                      <a:pt x="0" y="309"/>
                    </a:lnTo>
                    <a:lnTo>
                      <a:pt x="0" y="507"/>
                    </a:lnTo>
                    <a:lnTo>
                      <a:pt x="78" y="582"/>
                    </a:lnTo>
                    <a:lnTo>
                      <a:pt x="162" y="588"/>
                    </a:lnTo>
                    <a:lnTo>
                      <a:pt x="240" y="564"/>
                    </a:lnTo>
                    <a:lnTo>
                      <a:pt x="312" y="516"/>
                    </a:lnTo>
                    <a:lnTo>
                      <a:pt x="363" y="495"/>
                    </a:lnTo>
                    <a:lnTo>
                      <a:pt x="435" y="411"/>
                    </a:lnTo>
                    <a:lnTo>
                      <a:pt x="579" y="408"/>
                    </a:lnTo>
                    <a:lnTo>
                      <a:pt x="645" y="537"/>
                    </a:lnTo>
                    <a:lnTo>
                      <a:pt x="693" y="657"/>
                    </a:lnTo>
                    <a:lnTo>
                      <a:pt x="726" y="867"/>
                    </a:lnTo>
                    <a:lnTo>
                      <a:pt x="792" y="945"/>
                    </a:lnTo>
                    <a:lnTo>
                      <a:pt x="960" y="786"/>
                    </a:lnTo>
                    <a:lnTo>
                      <a:pt x="951" y="723"/>
                    </a:lnTo>
                    <a:lnTo>
                      <a:pt x="924" y="699"/>
                    </a:lnTo>
                    <a:lnTo>
                      <a:pt x="876" y="684"/>
                    </a:lnTo>
                    <a:lnTo>
                      <a:pt x="837" y="630"/>
                    </a:lnTo>
                    <a:lnTo>
                      <a:pt x="837" y="540"/>
                    </a:lnTo>
                    <a:lnTo>
                      <a:pt x="753" y="474"/>
                    </a:lnTo>
                    <a:lnTo>
                      <a:pt x="864" y="321"/>
                    </a:lnTo>
                    <a:lnTo>
                      <a:pt x="852" y="252"/>
                    </a:lnTo>
                    <a:lnTo>
                      <a:pt x="771" y="249"/>
                    </a:lnTo>
                    <a:lnTo>
                      <a:pt x="720" y="357"/>
                    </a:lnTo>
                    <a:lnTo>
                      <a:pt x="663" y="336"/>
                    </a:lnTo>
                    <a:lnTo>
                      <a:pt x="663" y="255"/>
                    </a:lnTo>
                    <a:lnTo>
                      <a:pt x="762" y="123"/>
                    </a:lnTo>
                    <a:lnTo>
                      <a:pt x="675" y="33"/>
                    </a:lnTo>
                    <a:lnTo>
                      <a:pt x="537"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9782" name="Group 98"/>
            <p:cNvGrpSpPr>
              <a:grpSpLocks/>
            </p:cNvGrpSpPr>
            <p:nvPr/>
          </p:nvGrpSpPr>
          <p:grpSpPr bwMode="auto">
            <a:xfrm>
              <a:off x="3446" y="2689"/>
              <a:ext cx="352" cy="291"/>
              <a:chOff x="3257" y="3011"/>
              <a:chExt cx="352" cy="291"/>
            </a:xfrm>
          </p:grpSpPr>
          <p:sp>
            <p:nvSpPr>
              <p:cNvPr id="29789" name="Freeform 99"/>
              <p:cNvSpPr>
                <a:spLocks/>
              </p:cNvSpPr>
              <p:nvPr/>
            </p:nvSpPr>
            <p:spPr bwMode="auto">
              <a:xfrm>
                <a:off x="3430" y="3011"/>
                <a:ext cx="124" cy="68"/>
              </a:xfrm>
              <a:custGeom>
                <a:avLst/>
                <a:gdLst>
                  <a:gd name="T0" fmla="*/ 0 w 660"/>
                  <a:gd name="T1" fmla="*/ 0 h 370"/>
                  <a:gd name="T2" fmla="*/ 0 w 660"/>
                  <a:gd name="T3" fmla="*/ 0 h 370"/>
                  <a:gd name="T4" fmla="*/ 0 w 660"/>
                  <a:gd name="T5" fmla="*/ 0 h 370"/>
                  <a:gd name="T6" fmla="*/ 0 w 660"/>
                  <a:gd name="T7" fmla="*/ 0 h 370"/>
                  <a:gd name="T8" fmla="*/ 0 w 660"/>
                  <a:gd name="T9" fmla="*/ 0 h 370"/>
                  <a:gd name="T10" fmla="*/ 0 w 660"/>
                  <a:gd name="T11" fmla="*/ 0 h 370"/>
                  <a:gd name="T12" fmla="*/ 0 w 660"/>
                  <a:gd name="T13" fmla="*/ 0 h 370"/>
                  <a:gd name="T14" fmla="*/ 0 w 660"/>
                  <a:gd name="T15" fmla="*/ 0 h 370"/>
                  <a:gd name="T16" fmla="*/ 0 w 660"/>
                  <a:gd name="T17" fmla="*/ 0 h 370"/>
                  <a:gd name="T18" fmla="*/ 0 w 660"/>
                  <a:gd name="T19" fmla="*/ 0 h 370"/>
                  <a:gd name="T20" fmla="*/ 0 w 660"/>
                  <a:gd name="T21" fmla="*/ 0 h 370"/>
                  <a:gd name="T22" fmla="*/ 0 w 660"/>
                  <a:gd name="T23" fmla="*/ 0 h 370"/>
                  <a:gd name="T24" fmla="*/ 0 w 660"/>
                  <a:gd name="T25" fmla="*/ 0 h 370"/>
                  <a:gd name="T26" fmla="*/ 0 w 660"/>
                  <a:gd name="T27" fmla="*/ 0 h 370"/>
                  <a:gd name="T28" fmla="*/ 0 w 660"/>
                  <a:gd name="T29" fmla="*/ 0 h 370"/>
                  <a:gd name="T30" fmla="*/ 0 w 660"/>
                  <a:gd name="T31" fmla="*/ 0 h 370"/>
                  <a:gd name="T32" fmla="*/ 0 w 660"/>
                  <a:gd name="T33" fmla="*/ 0 h 370"/>
                  <a:gd name="T34" fmla="*/ 0 w 660"/>
                  <a:gd name="T35" fmla="*/ 0 h 370"/>
                  <a:gd name="T36" fmla="*/ 0 w 660"/>
                  <a:gd name="T37" fmla="*/ 0 h 370"/>
                  <a:gd name="T38" fmla="*/ 0 w 660"/>
                  <a:gd name="T39" fmla="*/ 0 h 370"/>
                  <a:gd name="T40" fmla="*/ 0 w 660"/>
                  <a:gd name="T41" fmla="*/ 0 h 370"/>
                  <a:gd name="T42" fmla="*/ 0 w 660"/>
                  <a:gd name="T43" fmla="*/ 0 h 370"/>
                  <a:gd name="T44" fmla="*/ 0 w 660"/>
                  <a:gd name="T45" fmla="*/ 0 h 3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0"/>
                  <a:gd name="T70" fmla="*/ 0 h 370"/>
                  <a:gd name="T71" fmla="*/ 660 w 660"/>
                  <a:gd name="T72" fmla="*/ 370 h 3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0" h="370">
                    <a:moveTo>
                      <a:pt x="80" y="122"/>
                    </a:moveTo>
                    <a:lnTo>
                      <a:pt x="80" y="184"/>
                    </a:lnTo>
                    <a:lnTo>
                      <a:pt x="0" y="218"/>
                    </a:lnTo>
                    <a:lnTo>
                      <a:pt x="0" y="246"/>
                    </a:lnTo>
                    <a:lnTo>
                      <a:pt x="54" y="274"/>
                    </a:lnTo>
                    <a:lnTo>
                      <a:pt x="148" y="278"/>
                    </a:lnTo>
                    <a:lnTo>
                      <a:pt x="236" y="268"/>
                    </a:lnTo>
                    <a:lnTo>
                      <a:pt x="226" y="346"/>
                    </a:lnTo>
                    <a:lnTo>
                      <a:pt x="282" y="370"/>
                    </a:lnTo>
                    <a:lnTo>
                      <a:pt x="366" y="322"/>
                    </a:lnTo>
                    <a:lnTo>
                      <a:pt x="386" y="280"/>
                    </a:lnTo>
                    <a:lnTo>
                      <a:pt x="454" y="262"/>
                    </a:lnTo>
                    <a:lnTo>
                      <a:pt x="478" y="280"/>
                    </a:lnTo>
                    <a:lnTo>
                      <a:pt x="568" y="232"/>
                    </a:lnTo>
                    <a:lnTo>
                      <a:pt x="660" y="218"/>
                    </a:lnTo>
                    <a:lnTo>
                      <a:pt x="636" y="128"/>
                    </a:lnTo>
                    <a:lnTo>
                      <a:pt x="604" y="54"/>
                    </a:lnTo>
                    <a:lnTo>
                      <a:pt x="558" y="0"/>
                    </a:lnTo>
                    <a:lnTo>
                      <a:pt x="458" y="66"/>
                    </a:lnTo>
                    <a:lnTo>
                      <a:pt x="332" y="76"/>
                    </a:lnTo>
                    <a:lnTo>
                      <a:pt x="274" y="118"/>
                    </a:lnTo>
                    <a:lnTo>
                      <a:pt x="166" y="102"/>
                    </a:lnTo>
                    <a:lnTo>
                      <a:pt x="80" y="122"/>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0" name="Freeform 100"/>
              <p:cNvSpPr>
                <a:spLocks/>
              </p:cNvSpPr>
              <p:nvPr/>
            </p:nvSpPr>
            <p:spPr bwMode="auto">
              <a:xfrm>
                <a:off x="3484" y="3051"/>
                <a:ext cx="73" cy="66"/>
              </a:xfrm>
              <a:custGeom>
                <a:avLst/>
                <a:gdLst>
                  <a:gd name="T0" fmla="*/ 0 w 388"/>
                  <a:gd name="T1" fmla="*/ 0 h 358"/>
                  <a:gd name="T2" fmla="*/ 0 w 388"/>
                  <a:gd name="T3" fmla="*/ 0 h 358"/>
                  <a:gd name="T4" fmla="*/ 0 w 388"/>
                  <a:gd name="T5" fmla="*/ 0 h 358"/>
                  <a:gd name="T6" fmla="*/ 0 w 388"/>
                  <a:gd name="T7" fmla="*/ 0 h 358"/>
                  <a:gd name="T8" fmla="*/ 0 w 388"/>
                  <a:gd name="T9" fmla="*/ 0 h 358"/>
                  <a:gd name="T10" fmla="*/ 0 w 388"/>
                  <a:gd name="T11" fmla="*/ 0 h 358"/>
                  <a:gd name="T12" fmla="*/ 0 w 388"/>
                  <a:gd name="T13" fmla="*/ 0 h 358"/>
                  <a:gd name="T14" fmla="*/ 0 w 388"/>
                  <a:gd name="T15" fmla="*/ 0 h 358"/>
                  <a:gd name="T16" fmla="*/ 0 w 388"/>
                  <a:gd name="T17" fmla="*/ 0 h 358"/>
                  <a:gd name="T18" fmla="*/ 0 w 388"/>
                  <a:gd name="T19" fmla="*/ 0 h 358"/>
                  <a:gd name="T20" fmla="*/ 0 w 388"/>
                  <a:gd name="T21" fmla="*/ 0 h 358"/>
                  <a:gd name="T22" fmla="*/ 0 w 388"/>
                  <a:gd name="T23" fmla="*/ 0 h 358"/>
                  <a:gd name="T24" fmla="*/ 0 w 388"/>
                  <a:gd name="T25" fmla="*/ 0 h 358"/>
                  <a:gd name="T26" fmla="*/ 0 w 388"/>
                  <a:gd name="T27" fmla="*/ 0 h 358"/>
                  <a:gd name="T28" fmla="*/ 0 w 388"/>
                  <a:gd name="T29" fmla="*/ 0 h 358"/>
                  <a:gd name="T30" fmla="*/ 0 w 388"/>
                  <a:gd name="T31" fmla="*/ 0 h 358"/>
                  <a:gd name="T32" fmla="*/ 0 w 388"/>
                  <a:gd name="T33" fmla="*/ 0 h 358"/>
                  <a:gd name="T34" fmla="*/ 0 w 388"/>
                  <a:gd name="T35" fmla="*/ 0 h 358"/>
                  <a:gd name="T36" fmla="*/ 0 w 388"/>
                  <a:gd name="T37" fmla="*/ 0 h 358"/>
                  <a:gd name="T38" fmla="*/ 0 w 388"/>
                  <a:gd name="T39" fmla="*/ 0 h 3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8"/>
                  <a:gd name="T61" fmla="*/ 0 h 358"/>
                  <a:gd name="T62" fmla="*/ 388 w 388"/>
                  <a:gd name="T63" fmla="*/ 358 h 3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8" h="358">
                    <a:moveTo>
                      <a:pt x="372" y="0"/>
                    </a:moveTo>
                    <a:lnTo>
                      <a:pt x="388" y="56"/>
                    </a:lnTo>
                    <a:lnTo>
                      <a:pt x="378" y="126"/>
                    </a:lnTo>
                    <a:lnTo>
                      <a:pt x="332" y="236"/>
                    </a:lnTo>
                    <a:lnTo>
                      <a:pt x="322" y="352"/>
                    </a:lnTo>
                    <a:lnTo>
                      <a:pt x="260" y="316"/>
                    </a:lnTo>
                    <a:lnTo>
                      <a:pt x="230" y="316"/>
                    </a:lnTo>
                    <a:lnTo>
                      <a:pt x="210" y="358"/>
                    </a:lnTo>
                    <a:lnTo>
                      <a:pt x="82" y="338"/>
                    </a:lnTo>
                    <a:lnTo>
                      <a:pt x="78" y="272"/>
                    </a:lnTo>
                    <a:lnTo>
                      <a:pt x="48" y="232"/>
                    </a:lnTo>
                    <a:lnTo>
                      <a:pt x="10" y="202"/>
                    </a:lnTo>
                    <a:lnTo>
                      <a:pt x="0" y="146"/>
                    </a:lnTo>
                    <a:lnTo>
                      <a:pt x="74" y="104"/>
                    </a:lnTo>
                    <a:lnTo>
                      <a:pt x="98" y="60"/>
                    </a:lnTo>
                    <a:lnTo>
                      <a:pt x="168" y="40"/>
                    </a:lnTo>
                    <a:lnTo>
                      <a:pt x="184" y="54"/>
                    </a:lnTo>
                    <a:lnTo>
                      <a:pt x="192" y="64"/>
                    </a:lnTo>
                    <a:lnTo>
                      <a:pt x="276" y="12"/>
                    </a:lnTo>
                    <a:lnTo>
                      <a:pt x="372"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1" name="Freeform 101"/>
              <p:cNvSpPr>
                <a:spLocks/>
              </p:cNvSpPr>
              <p:nvPr/>
            </p:nvSpPr>
            <p:spPr bwMode="auto">
              <a:xfrm>
                <a:off x="3433" y="3060"/>
                <a:ext cx="66" cy="74"/>
              </a:xfrm>
              <a:custGeom>
                <a:avLst/>
                <a:gdLst>
                  <a:gd name="T0" fmla="*/ 0 w 350"/>
                  <a:gd name="T1" fmla="*/ 0 h 402"/>
                  <a:gd name="T2" fmla="*/ 0 w 350"/>
                  <a:gd name="T3" fmla="*/ 0 h 402"/>
                  <a:gd name="T4" fmla="*/ 0 w 350"/>
                  <a:gd name="T5" fmla="*/ 0 h 402"/>
                  <a:gd name="T6" fmla="*/ 0 w 350"/>
                  <a:gd name="T7" fmla="*/ 0 h 402"/>
                  <a:gd name="T8" fmla="*/ 0 w 350"/>
                  <a:gd name="T9" fmla="*/ 0 h 402"/>
                  <a:gd name="T10" fmla="*/ 0 w 350"/>
                  <a:gd name="T11" fmla="*/ 0 h 402"/>
                  <a:gd name="T12" fmla="*/ 0 w 350"/>
                  <a:gd name="T13" fmla="*/ 0 h 402"/>
                  <a:gd name="T14" fmla="*/ 0 w 350"/>
                  <a:gd name="T15" fmla="*/ 0 h 402"/>
                  <a:gd name="T16" fmla="*/ 0 w 350"/>
                  <a:gd name="T17" fmla="*/ 0 h 402"/>
                  <a:gd name="T18" fmla="*/ 0 w 350"/>
                  <a:gd name="T19" fmla="*/ 0 h 402"/>
                  <a:gd name="T20" fmla="*/ 0 w 350"/>
                  <a:gd name="T21" fmla="*/ 0 h 402"/>
                  <a:gd name="T22" fmla="*/ 0 w 350"/>
                  <a:gd name="T23" fmla="*/ 0 h 402"/>
                  <a:gd name="T24" fmla="*/ 0 w 350"/>
                  <a:gd name="T25" fmla="*/ 0 h 402"/>
                  <a:gd name="T26" fmla="*/ 0 w 350"/>
                  <a:gd name="T27" fmla="*/ 0 h 402"/>
                  <a:gd name="T28" fmla="*/ 0 w 350"/>
                  <a:gd name="T29" fmla="*/ 0 h 402"/>
                  <a:gd name="T30" fmla="*/ 0 w 350"/>
                  <a:gd name="T31" fmla="*/ 0 h 402"/>
                  <a:gd name="T32" fmla="*/ 0 w 350"/>
                  <a:gd name="T33" fmla="*/ 0 h 402"/>
                  <a:gd name="T34" fmla="*/ 0 w 350"/>
                  <a:gd name="T35" fmla="*/ 0 h 402"/>
                  <a:gd name="T36" fmla="*/ 0 w 350"/>
                  <a:gd name="T37" fmla="*/ 0 h 402"/>
                  <a:gd name="T38" fmla="*/ 0 w 350"/>
                  <a:gd name="T39" fmla="*/ 0 h 402"/>
                  <a:gd name="T40" fmla="*/ 0 w 350"/>
                  <a:gd name="T41" fmla="*/ 0 h 4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0"/>
                  <a:gd name="T64" fmla="*/ 0 h 402"/>
                  <a:gd name="T65" fmla="*/ 350 w 350"/>
                  <a:gd name="T66" fmla="*/ 402 h 4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0" h="402">
                    <a:moveTo>
                      <a:pt x="348" y="294"/>
                    </a:moveTo>
                    <a:cubicBezTo>
                      <a:pt x="344" y="298"/>
                      <a:pt x="336" y="306"/>
                      <a:pt x="336" y="306"/>
                    </a:cubicBezTo>
                    <a:lnTo>
                      <a:pt x="310" y="332"/>
                    </a:lnTo>
                    <a:lnTo>
                      <a:pt x="220" y="316"/>
                    </a:lnTo>
                    <a:lnTo>
                      <a:pt x="148" y="402"/>
                    </a:lnTo>
                    <a:lnTo>
                      <a:pt x="120" y="328"/>
                    </a:lnTo>
                    <a:lnTo>
                      <a:pt x="112" y="226"/>
                    </a:lnTo>
                    <a:lnTo>
                      <a:pt x="88" y="146"/>
                    </a:lnTo>
                    <a:lnTo>
                      <a:pt x="62" y="134"/>
                    </a:lnTo>
                    <a:lnTo>
                      <a:pt x="30" y="160"/>
                    </a:lnTo>
                    <a:lnTo>
                      <a:pt x="0" y="148"/>
                    </a:lnTo>
                    <a:lnTo>
                      <a:pt x="10" y="36"/>
                    </a:lnTo>
                    <a:lnTo>
                      <a:pt x="40" y="6"/>
                    </a:lnTo>
                    <a:lnTo>
                      <a:pt x="132" y="12"/>
                    </a:lnTo>
                    <a:lnTo>
                      <a:pt x="220" y="0"/>
                    </a:lnTo>
                    <a:lnTo>
                      <a:pt x="212" y="76"/>
                    </a:lnTo>
                    <a:lnTo>
                      <a:pt x="270" y="102"/>
                    </a:lnTo>
                    <a:lnTo>
                      <a:pt x="278" y="156"/>
                    </a:lnTo>
                    <a:lnTo>
                      <a:pt x="320" y="188"/>
                    </a:lnTo>
                    <a:lnTo>
                      <a:pt x="350" y="224"/>
                    </a:lnTo>
                    <a:lnTo>
                      <a:pt x="348" y="294"/>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2" name="Freeform 102"/>
              <p:cNvSpPr>
                <a:spLocks/>
              </p:cNvSpPr>
              <p:nvPr/>
            </p:nvSpPr>
            <p:spPr bwMode="auto">
              <a:xfrm>
                <a:off x="3346" y="3079"/>
                <a:ext cx="93" cy="58"/>
              </a:xfrm>
              <a:custGeom>
                <a:avLst/>
                <a:gdLst>
                  <a:gd name="T0" fmla="*/ 0 w 491"/>
                  <a:gd name="T1" fmla="*/ 0 h 309"/>
                  <a:gd name="T2" fmla="*/ 0 w 491"/>
                  <a:gd name="T3" fmla="*/ 0 h 309"/>
                  <a:gd name="T4" fmla="*/ 0 w 491"/>
                  <a:gd name="T5" fmla="*/ 0 h 309"/>
                  <a:gd name="T6" fmla="*/ 0 w 491"/>
                  <a:gd name="T7" fmla="*/ 0 h 309"/>
                  <a:gd name="T8" fmla="*/ 0 w 491"/>
                  <a:gd name="T9" fmla="*/ 0 h 309"/>
                  <a:gd name="T10" fmla="*/ 0 w 491"/>
                  <a:gd name="T11" fmla="*/ 0 h 309"/>
                  <a:gd name="T12" fmla="*/ 0 w 491"/>
                  <a:gd name="T13" fmla="*/ 0 h 309"/>
                  <a:gd name="T14" fmla="*/ 0 w 491"/>
                  <a:gd name="T15" fmla="*/ 0 h 309"/>
                  <a:gd name="T16" fmla="*/ 0 w 491"/>
                  <a:gd name="T17" fmla="*/ 0 h 309"/>
                  <a:gd name="T18" fmla="*/ 0 w 491"/>
                  <a:gd name="T19" fmla="*/ 0 h 309"/>
                  <a:gd name="T20" fmla="*/ 0 w 491"/>
                  <a:gd name="T21" fmla="*/ 0 h 309"/>
                  <a:gd name="T22" fmla="*/ 0 w 491"/>
                  <a:gd name="T23" fmla="*/ 0 h 309"/>
                  <a:gd name="T24" fmla="*/ 0 w 491"/>
                  <a:gd name="T25" fmla="*/ 0 h 309"/>
                  <a:gd name="T26" fmla="*/ 0 w 491"/>
                  <a:gd name="T27" fmla="*/ 0 h 309"/>
                  <a:gd name="T28" fmla="*/ 0 w 491"/>
                  <a:gd name="T29" fmla="*/ 0 h 309"/>
                  <a:gd name="T30" fmla="*/ 0 w 491"/>
                  <a:gd name="T31" fmla="*/ 0 h 309"/>
                  <a:gd name="T32" fmla="*/ 0 w 491"/>
                  <a:gd name="T33" fmla="*/ 0 h 309"/>
                  <a:gd name="T34" fmla="*/ 0 w 491"/>
                  <a:gd name="T35" fmla="*/ 0 h 309"/>
                  <a:gd name="T36" fmla="*/ 0 w 491"/>
                  <a:gd name="T37" fmla="*/ 0 h 309"/>
                  <a:gd name="T38" fmla="*/ 0 w 491"/>
                  <a:gd name="T39" fmla="*/ 0 h 309"/>
                  <a:gd name="T40" fmla="*/ 0 w 491"/>
                  <a:gd name="T41" fmla="*/ 0 h 309"/>
                  <a:gd name="T42" fmla="*/ 0 w 491"/>
                  <a:gd name="T43" fmla="*/ 0 h 309"/>
                  <a:gd name="T44" fmla="*/ 0 w 491"/>
                  <a:gd name="T45" fmla="*/ 0 h 309"/>
                  <a:gd name="T46" fmla="*/ 0 w 491"/>
                  <a:gd name="T47" fmla="*/ 0 h 309"/>
                  <a:gd name="T48" fmla="*/ 0 w 491"/>
                  <a:gd name="T49" fmla="*/ 0 h 309"/>
                  <a:gd name="T50" fmla="*/ 0 w 491"/>
                  <a:gd name="T51" fmla="*/ 0 h 309"/>
                  <a:gd name="T52" fmla="*/ 0 w 491"/>
                  <a:gd name="T53" fmla="*/ 0 h 309"/>
                  <a:gd name="T54" fmla="*/ 0 w 491"/>
                  <a:gd name="T55" fmla="*/ 0 h 309"/>
                  <a:gd name="T56" fmla="*/ 0 w 491"/>
                  <a:gd name="T57" fmla="*/ 0 h 309"/>
                  <a:gd name="T58" fmla="*/ 0 w 491"/>
                  <a:gd name="T59" fmla="*/ 0 h 309"/>
                  <a:gd name="T60" fmla="*/ 0 w 491"/>
                  <a:gd name="T61" fmla="*/ 0 h 309"/>
                  <a:gd name="T62" fmla="*/ 0 w 491"/>
                  <a:gd name="T63" fmla="*/ 0 h 309"/>
                  <a:gd name="T64" fmla="*/ 0 w 491"/>
                  <a:gd name="T65" fmla="*/ 0 h 309"/>
                  <a:gd name="T66" fmla="*/ 0 w 491"/>
                  <a:gd name="T67" fmla="*/ 0 h 309"/>
                  <a:gd name="T68" fmla="*/ 0 w 491"/>
                  <a:gd name="T69" fmla="*/ 0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1"/>
                  <a:gd name="T106" fmla="*/ 0 h 309"/>
                  <a:gd name="T107" fmla="*/ 491 w 491"/>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1" h="309">
                    <a:moveTo>
                      <a:pt x="3" y="27"/>
                    </a:moveTo>
                    <a:lnTo>
                      <a:pt x="0" y="18"/>
                    </a:lnTo>
                    <a:lnTo>
                      <a:pt x="0" y="9"/>
                    </a:lnTo>
                    <a:lnTo>
                      <a:pt x="36" y="0"/>
                    </a:lnTo>
                    <a:lnTo>
                      <a:pt x="87" y="12"/>
                    </a:lnTo>
                    <a:lnTo>
                      <a:pt x="150" y="24"/>
                    </a:lnTo>
                    <a:lnTo>
                      <a:pt x="210" y="42"/>
                    </a:lnTo>
                    <a:lnTo>
                      <a:pt x="267" y="60"/>
                    </a:lnTo>
                    <a:lnTo>
                      <a:pt x="324" y="21"/>
                    </a:lnTo>
                    <a:lnTo>
                      <a:pt x="372" y="15"/>
                    </a:lnTo>
                    <a:lnTo>
                      <a:pt x="378" y="53"/>
                    </a:lnTo>
                    <a:lnTo>
                      <a:pt x="408" y="101"/>
                    </a:lnTo>
                    <a:lnTo>
                      <a:pt x="436" y="153"/>
                    </a:lnTo>
                    <a:lnTo>
                      <a:pt x="480" y="221"/>
                    </a:lnTo>
                    <a:lnTo>
                      <a:pt x="491" y="239"/>
                    </a:lnTo>
                    <a:lnTo>
                      <a:pt x="487" y="289"/>
                    </a:lnTo>
                    <a:lnTo>
                      <a:pt x="466" y="293"/>
                    </a:lnTo>
                    <a:lnTo>
                      <a:pt x="443" y="280"/>
                    </a:lnTo>
                    <a:lnTo>
                      <a:pt x="411" y="300"/>
                    </a:lnTo>
                    <a:lnTo>
                      <a:pt x="363" y="297"/>
                    </a:lnTo>
                    <a:lnTo>
                      <a:pt x="339" y="309"/>
                    </a:lnTo>
                    <a:lnTo>
                      <a:pt x="312" y="274"/>
                    </a:lnTo>
                    <a:lnTo>
                      <a:pt x="250" y="272"/>
                    </a:lnTo>
                    <a:lnTo>
                      <a:pt x="241" y="303"/>
                    </a:lnTo>
                    <a:lnTo>
                      <a:pt x="195" y="300"/>
                    </a:lnTo>
                    <a:lnTo>
                      <a:pt x="180" y="255"/>
                    </a:lnTo>
                    <a:lnTo>
                      <a:pt x="132" y="252"/>
                    </a:lnTo>
                    <a:lnTo>
                      <a:pt x="126" y="162"/>
                    </a:lnTo>
                    <a:lnTo>
                      <a:pt x="156" y="135"/>
                    </a:lnTo>
                    <a:lnTo>
                      <a:pt x="148" y="102"/>
                    </a:lnTo>
                    <a:lnTo>
                      <a:pt x="106" y="109"/>
                    </a:lnTo>
                    <a:lnTo>
                      <a:pt x="93" y="75"/>
                    </a:lnTo>
                    <a:lnTo>
                      <a:pt x="63" y="54"/>
                    </a:lnTo>
                    <a:lnTo>
                      <a:pt x="42" y="39"/>
                    </a:lnTo>
                    <a:lnTo>
                      <a:pt x="3" y="2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3" name="Freeform 103"/>
              <p:cNvSpPr>
                <a:spLocks/>
              </p:cNvSpPr>
              <p:nvPr/>
            </p:nvSpPr>
            <p:spPr bwMode="auto">
              <a:xfrm>
                <a:off x="3416" y="3078"/>
                <a:ext cx="44" cy="55"/>
              </a:xfrm>
              <a:custGeom>
                <a:avLst/>
                <a:gdLst>
                  <a:gd name="T0" fmla="*/ 0 w 558"/>
                  <a:gd name="T1" fmla="*/ 0 h 717"/>
                  <a:gd name="T2" fmla="*/ 0 w 558"/>
                  <a:gd name="T3" fmla="*/ 0 h 717"/>
                  <a:gd name="T4" fmla="*/ 0 w 558"/>
                  <a:gd name="T5" fmla="*/ 0 h 717"/>
                  <a:gd name="T6" fmla="*/ 0 w 558"/>
                  <a:gd name="T7" fmla="*/ 0 h 717"/>
                  <a:gd name="T8" fmla="*/ 0 w 558"/>
                  <a:gd name="T9" fmla="*/ 0 h 717"/>
                  <a:gd name="T10" fmla="*/ 0 w 558"/>
                  <a:gd name="T11" fmla="*/ 0 h 717"/>
                  <a:gd name="T12" fmla="*/ 0 w 558"/>
                  <a:gd name="T13" fmla="*/ 0 h 717"/>
                  <a:gd name="T14" fmla="*/ 0 w 558"/>
                  <a:gd name="T15" fmla="*/ 0 h 717"/>
                  <a:gd name="T16" fmla="*/ 0 w 558"/>
                  <a:gd name="T17" fmla="*/ 0 h 717"/>
                  <a:gd name="T18" fmla="*/ 0 w 558"/>
                  <a:gd name="T19" fmla="*/ 0 h 717"/>
                  <a:gd name="T20" fmla="*/ 0 w 558"/>
                  <a:gd name="T21" fmla="*/ 0 h 717"/>
                  <a:gd name="T22" fmla="*/ 0 w 558"/>
                  <a:gd name="T23" fmla="*/ 0 h 717"/>
                  <a:gd name="T24" fmla="*/ 0 w 558"/>
                  <a:gd name="T25" fmla="*/ 0 h 717"/>
                  <a:gd name="T26" fmla="*/ 0 w 558"/>
                  <a:gd name="T27" fmla="*/ 0 h 717"/>
                  <a:gd name="T28" fmla="*/ 0 w 558"/>
                  <a:gd name="T29" fmla="*/ 0 h 717"/>
                  <a:gd name="T30" fmla="*/ 0 w 558"/>
                  <a:gd name="T31" fmla="*/ 0 h 717"/>
                  <a:gd name="T32" fmla="*/ 0 w 558"/>
                  <a:gd name="T33" fmla="*/ 0 h 717"/>
                  <a:gd name="T34" fmla="*/ 0 w 558"/>
                  <a:gd name="T35" fmla="*/ 0 h 717"/>
                  <a:gd name="T36" fmla="*/ 0 w 558"/>
                  <a:gd name="T37" fmla="*/ 0 h 717"/>
                  <a:gd name="T38" fmla="*/ 0 w 558"/>
                  <a:gd name="T39" fmla="*/ 0 h 7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8"/>
                  <a:gd name="T61" fmla="*/ 0 h 717"/>
                  <a:gd name="T62" fmla="*/ 558 w 558"/>
                  <a:gd name="T63" fmla="*/ 717 h 7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8" h="717">
                    <a:moveTo>
                      <a:pt x="0" y="0"/>
                    </a:moveTo>
                    <a:lnTo>
                      <a:pt x="108" y="60"/>
                    </a:lnTo>
                    <a:lnTo>
                      <a:pt x="219" y="45"/>
                    </a:lnTo>
                    <a:lnTo>
                      <a:pt x="288" y="81"/>
                    </a:lnTo>
                    <a:lnTo>
                      <a:pt x="363" y="21"/>
                    </a:lnTo>
                    <a:lnTo>
                      <a:pt x="432" y="63"/>
                    </a:lnTo>
                    <a:lnTo>
                      <a:pt x="468" y="192"/>
                    </a:lnTo>
                    <a:lnTo>
                      <a:pt x="480" y="321"/>
                    </a:lnTo>
                    <a:lnTo>
                      <a:pt x="501" y="429"/>
                    </a:lnTo>
                    <a:lnTo>
                      <a:pt x="501" y="489"/>
                    </a:lnTo>
                    <a:lnTo>
                      <a:pt x="558" y="633"/>
                    </a:lnTo>
                    <a:lnTo>
                      <a:pt x="495" y="711"/>
                    </a:lnTo>
                    <a:lnTo>
                      <a:pt x="444" y="678"/>
                    </a:lnTo>
                    <a:lnTo>
                      <a:pt x="351" y="708"/>
                    </a:lnTo>
                    <a:lnTo>
                      <a:pt x="270" y="717"/>
                    </a:lnTo>
                    <a:lnTo>
                      <a:pt x="282" y="591"/>
                    </a:lnTo>
                    <a:lnTo>
                      <a:pt x="150" y="384"/>
                    </a:lnTo>
                    <a:lnTo>
                      <a:pt x="87" y="261"/>
                    </a:lnTo>
                    <a:lnTo>
                      <a:pt x="21" y="150"/>
                    </a:lnTo>
                    <a:lnTo>
                      <a:pt x="0"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4" name="Freeform 104"/>
              <p:cNvSpPr>
                <a:spLocks/>
              </p:cNvSpPr>
              <p:nvPr/>
            </p:nvSpPr>
            <p:spPr bwMode="auto">
              <a:xfrm>
                <a:off x="3437" y="3130"/>
                <a:ext cx="38" cy="53"/>
              </a:xfrm>
              <a:custGeom>
                <a:avLst/>
                <a:gdLst>
                  <a:gd name="T0" fmla="*/ 0 w 465"/>
                  <a:gd name="T1" fmla="*/ 0 h 696"/>
                  <a:gd name="T2" fmla="*/ 0 w 465"/>
                  <a:gd name="T3" fmla="*/ 0 h 696"/>
                  <a:gd name="T4" fmla="*/ 0 w 465"/>
                  <a:gd name="T5" fmla="*/ 0 h 696"/>
                  <a:gd name="T6" fmla="*/ 0 w 465"/>
                  <a:gd name="T7" fmla="*/ 0 h 696"/>
                  <a:gd name="T8" fmla="*/ 0 w 465"/>
                  <a:gd name="T9" fmla="*/ 0 h 696"/>
                  <a:gd name="T10" fmla="*/ 0 w 465"/>
                  <a:gd name="T11" fmla="*/ 0 h 696"/>
                  <a:gd name="T12" fmla="*/ 0 w 465"/>
                  <a:gd name="T13" fmla="*/ 0 h 696"/>
                  <a:gd name="T14" fmla="*/ 0 w 465"/>
                  <a:gd name="T15" fmla="*/ 0 h 696"/>
                  <a:gd name="T16" fmla="*/ 0 w 465"/>
                  <a:gd name="T17" fmla="*/ 0 h 696"/>
                  <a:gd name="T18" fmla="*/ 0 w 465"/>
                  <a:gd name="T19" fmla="*/ 0 h 696"/>
                  <a:gd name="T20" fmla="*/ 0 w 465"/>
                  <a:gd name="T21" fmla="*/ 0 h 696"/>
                  <a:gd name="T22" fmla="*/ 0 w 465"/>
                  <a:gd name="T23" fmla="*/ 0 h 696"/>
                  <a:gd name="T24" fmla="*/ 0 w 465"/>
                  <a:gd name="T25" fmla="*/ 0 h 696"/>
                  <a:gd name="T26" fmla="*/ 0 w 465"/>
                  <a:gd name="T27" fmla="*/ 0 h 696"/>
                  <a:gd name="T28" fmla="*/ 0 w 465"/>
                  <a:gd name="T29" fmla="*/ 0 h 696"/>
                  <a:gd name="T30" fmla="*/ 0 w 465"/>
                  <a:gd name="T31" fmla="*/ 0 h 696"/>
                  <a:gd name="T32" fmla="*/ 0 w 465"/>
                  <a:gd name="T33" fmla="*/ 0 h 696"/>
                  <a:gd name="T34" fmla="*/ 0 w 465"/>
                  <a:gd name="T35" fmla="*/ 0 h 696"/>
                  <a:gd name="T36" fmla="*/ 0 w 465"/>
                  <a:gd name="T37" fmla="*/ 0 h 6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5"/>
                  <a:gd name="T58" fmla="*/ 0 h 696"/>
                  <a:gd name="T59" fmla="*/ 465 w 465"/>
                  <a:gd name="T60" fmla="*/ 696 h 6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5" h="696">
                    <a:moveTo>
                      <a:pt x="228" y="30"/>
                    </a:moveTo>
                    <a:lnTo>
                      <a:pt x="177" y="0"/>
                    </a:lnTo>
                    <a:lnTo>
                      <a:pt x="81" y="30"/>
                    </a:lnTo>
                    <a:lnTo>
                      <a:pt x="0" y="33"/>
                    </a:lnTo>
                    <a:lnTo>
                      <a:pt x="45" y="174"/>
                    </a:lnTo>
                    <a:lnTo>
                      <a:pt x="51" y="327"/>
                    </a:lnTo>
                    <a:lnTo>
                      <a:pt x="93" y="387"/>
                    </a:lnTo>
                    <a:lnTo>
                      <a:pt x="27" y="492"/>
                    </a:lnTo>
                    <a:lnTo>
                      <a:pt x="9" y="624"/>
                    </a:lnTo>
                    <a:lnTo>
                      <a:pt x="105" y="615"/>
                    </a:lnTo>
                    <a:lnTo>
                      <a:pt x="201" y="630"/>
                    </a:lnTo>
                    <a:lnTo>
                      <a:pt x="225" y="690"/>
                    </a:lnTo>
                    <a:lnTo>
                      <a:pt x="303" y="696"/>
                    </a:lnTo>
                    <a:lnTo>
                      <a:pt x="465" y="672"/>
                    </a:lnTo>
                    <a:lnTo>
                      <a:pt x="429" y="474"/>
                    </a:lnTo>
                    <a:lnTo>
                      <a:pt x="381" y="336"/>
                    </a:lnTo>
                    <a:lnTo>
                      <a:pt x="342" y="84"/>
                    </a:lnTo>
                    <a:lnTo>
                      <a:pt x="243" y="66"/>
                    </a:lnTo>
                    <a:lnTo>
                      <a:pt x="228" y="3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5" name="Freeform 105"/>
              <p:cNvSpPr>
                <a:spLocks/>
              </p:cNvSpPr>
              <p:nvPr/>
            </p:nvSpPr>
            <p:spPr bwMode="auto">
              <a:xfrm>
                <a:off x="3402" y="3131"/>
                <a:ext cx="43" cy="60"/>
              </a:xfrm>
              <a:custGeom>
                <a:avLst/>
                <a:gdLst>
                  <a:gd name="T0" fmla="*/ 0 w 534"/>
                  <a:gd name="T1" fmla="*/ 0 h 780"/>
                  <a:gd name="T2" fmla="*/ 0 w 534"/>
                  <a:gd name="T3" fmla="*/ 0 h 780"/>
                  <a:gd name="T4" fmla="*/ 0 w 534"/>
                  <a:gd name="T5" fmla="*/ 0 h 780"/>
                  <a:gd name="T6" fmla="*/ 0 w 534"/>
                  <a:gd name="T7" fmla="*/ 0 h 780"/>
                  <a:gd name="T8" fmla="*/ 0 w 534"/>
                  <a:gd name="T9" fmla="*/ 0 h 780"/>
                  <a:gd name="T10" fmla="*/ 0 w 534"/>
                  <a:gd name="T11" fmla="*/ 0 h 780"/>
                  <a:gd name="T12" fmla="*/ 0 w 534"/>
                  <a:gd name="T13" fmla="*/ 0 h 780"/>
                  <a:gd name="T14" fmla="*/ 0 w 534"/>
                  <a:gd name="T15" fmla="*/ 0 h 780"/>
                  <a:gd name="T16" fmla="*/ 0 w 534"/>
                  <a:gd name="T17" fmla="*/ 0 h 780"/>
                  <a:gd name="T18" fmla="*/ 0 w 534"/>
                  <a:gd name="T19" fmla="*/ 0 h 780"/>
                  <a:gd name="T20" fmla="*/ 0 w 534"/>
                  <a:gd name="T21" fmla="*/ 0 h 780"/>
                  <a:gd name="T22" fmla="*/ 0 w 534"/>
                  <a:gd name="T23" fmla="*/ 0 h 780"/>
                  <a:gd name="T24" fmla="*/ 0 w 534"/>
                  <a:gd name="T25" fmla="*/ 0 h 780"/>
                  <a:gd name="T26" fmla="*/ 0 w 534"/>
                  <a:gd name="T27" fmla="*/ 0 h 780"/>
                  <a:gd name="T28" fmla="*/ 0 w 534"/>
                  <a:gd name="T29" fmla="*/ 0 h 780"/>
                  <a:gd name="T30" fmla="*/ 0 w 534"/>
                  <a:gd name="T31" fmla="*/ 0 h 780"/>
                  <a:gd name="T32" fmla="*/ 0 w 534"/>
                  <a:gd name="T33" fmla="*/ 0 h 780"/>
                  <a:gd name="T34" fmla="*/ 0 w 534"/>
                  <a:gd name="T35" fmla="*/ 0 h 780"/>
                  <a:gd name="T36" fmla="*/ 0 w 534"/>
                  <a:gd name="T37" fmla="*/ 0 h 780"/>
                  <a:gd name="T38" fmla="*/ 0 w 534"/>
                  <a:gd name="T39" fmla="*/ 0 h 780"/>
                  <a:gd name="T40" fmla="*/ 0 w 534"/>
                  <a:gd name="T41" fmla="*/ 0 h 780"/>
                  <a:gd name="T42" fmla="*/ 0 w 534"/>
                  <a:gd name="T43" fmla="*/ 0 h 780"/>
                  <a:gd name="T44" fmla="*/ 0 w 534"/>
                  <a:gd name="T45" fmla="*/ 0 h 7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4"/>
                  <a:gd name="T70" fmla="*/ 0 h 780"/>
                  <a:gd name="T71" fmla="*/ 534 w 534"/>
                  <a:gd name="T72" fmla="*/ 780 h 7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4" h="780">
                    <a:moveTo>
                      <a:pt x="441" y="15"/>
                    </a:moveTo>
                    <a:lnTo>
                      <a:pt x="489" y="147"/>
                    </a:lnTo>
                    <a:lnTo>
                      <a:pt x="492" y="312"/>
                    </a:lnTo>
                    <a:lnTo>
                      <a:pt x="534" y="363"/>
                    </a:lnTo>
                    <a:lnTo>
                      <a:pt x="468" y="468"/>
                    </a:lnTo>
                    <a:lnTo>
                      <a:pt x="453" y="600"/>
                    </a:lnTo>
                    <a:lnTo>
                      <a:pt x="408" y="666"/>
                    </a:lnTo>
                    <a:lnTo>
                      <a:pt x="351" y="774"/>
                    </a:lnTo>
                    <a:lnTo>
                      <a:pt x="243" y="768"/>
                    </a:lnTo>
                    <a:lnTo>
                      <a:pt x="156" y="756"/>
                    </a:lnTo>
                    <a:lnTo>
                      <a:pt x="57" y="780"/>
                    </a:lnTo>
                    <a:lnTo>
                      <a:pt x="0" y="705"/>
                    </a:lnTo>
                    <a:lnTo>
                      <a:pt x="36" y="624"/>
                    </a:lnTo>
                    <a:lnTo>
                      <a:pt x="114" y="588"/>
                    </a:lnTo>
                    <a:lnTo>
                      <a:pt x="207" y="531"/>
                    </a:lnTo>
                    <a:lnTo>
                      <a:pt x="204" y="378"/>
                    </a:lnTo>
                    <a:lnTo>
                      <a:pt x="132" y="258"/>
                    </a:lnTo>
                    <a:lnTo>
                      <a:pt x="96" y="60"/>
                    </a:lnTo>
                    <a:lnTo>
                      <a:pt x="156" y="36"/>
                    </a:lnTo>
                    <a:lnTo>
                      <a:pt x="267" y="48"/>
                    </a:lnTo>
                    <a:lnTo>
                      <a:pt x="345" y="0"/>
                    </a:lnTo>
                    <a:lnTo>
                      <a:pt x="399" y="27"/>
                    </a:lnTo>
                    <a:lnTo>
                      <a:pt x="441" y="1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6" name="Freeform 106"/>
              <p:cNvSpPr>
                <a:spLocks/>
              </p:cNvSpPr>
              <p:nvPr/>
            </p:nvSpPr>
            <p:spPr bwMode="auto">
              <a:xfrm>
                <a:off x="3365" y="3129"/>
                <a:ext cx="53" cy="88"/>
              </a:xfrm>
              <a:custGeom>
                <a:avLst/>
                <a:gdLst>
                  <a:gd name="T0" fmla="*/ 0 w 281"/>
                  <a:gd name="T1" fmla="*/ 0 h 477"/>
                  <a:gd name="T2" fmla="*/ 0 w 281"/>
                  <a:gd name="T3" fmla="*/ 0 h 477"/>
                  <a:gd name="T4" fmla="*/ 0 w 281"/>
                  <a:gd name="T5" fmla="*/ 0 h 477"/>
                  <a:gd name="T6" fmla="*/ 0 w 281"/>
                  <a:gd name="T7" fmla="*/ 0 h 477"/>
                  <a:gd name="T8" fmla="*/ 0 w 281"/>
                  <a:gd name="T9" fmla="*/ 0 h 477"/>
                  <a:gd name="T10" fmla="*/ 0 w 281"/>
                  <a:gd name="T11" fmla="*/ 0 h 477"/>
                  <a:gd name="T12" fmla="*/ 0 w 281"/>
                  <a:gd name="T13" fmla="*/ 0 h 477"/>
                  <a:gd name="T14" fmla="*/ 0 w 281"/>
                  <a:gd name="T15" fmla="*/ 0 h 477"/>
                  <a:gd name="T16" fmla="*/ 0 w 281"/>
                  <a:gd name="T17" fmla="*/ 0 h 477"/>
                  <a:gd name="T18" fmla="*/ 0 w 281"/>
                  <a:gd name="T19" fmla="*/ 0 h 477"/>
                  <a:gd name="T20" fmla="*/ 0 w 281"/>
                  <a:gd name="T21" fmla="*/ 0 h 477"/>
                  <a:gd name="T22" fmla="*/ 0 w 281"/>
                  <a:gd name="T23" fmla="*/ 0 h 477"/>
                  <a:gd name="T24" fmla="*/ 0 w 281"/>
                  <a:gd name="T25" fmla="*/ 0 h 477"/>
                  <a:gd name="T26" fmla="*/ 0 w 281"/>
                  <a:gd name="T27" fmla="*/ 0 h 477"/>
                  <a:gd name="T28" fmla="*/ 0 w 281"/>
                  <a:gd name="T29" fmla="*/ 0 h 477"/>
                  <a:gd name="T30" fmla="*/ 0 w 281"/>
                  <a:gd name="T31" fmla="*/ 0 h 477"/>
                  <a:gd name="T32" fmla="*/ 0 w 281"/>
                  <a:gd name="T33" fmla="*/ 0 h 477"/>
                  <a:gd name="T34" fmla="*/ 0 w 281"/>
                  <a:gd name="T35" fmla="*/ 0 h 477"/>
                  <a:gd name="T36" fmla="*/ 0 w 281"/>
                  <a:gd name="T37" fmla="*/ 0 h 477"/>
                  <a:gd name="T38" fmla="*/ 0 w 281"/>
                  <a:gd name="T39" fmla="*/ 0 h 477"/>
                  <a:gd name="T40" fmla="*/ 0 w 281"/>
                  <a:gd name="T41" fmla="*/ 0 h 477"/>
                  <a:gd name="T42" fmla="*/ 0 w 281"/>
                  <a:gd name="T43" fmla="*/ 0 h 4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1"/>
                  <a:gd name="T67" fmla="*/ 0 h 477"/>
                  <a:gd name="T68" fmla="*/ 281 w 281"/>
                  <a:gd name="T69" fmla="*/ 477 h 4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1" h="477">
                    <a:moveTo>
                      <a:pt x="233" y="35"/>
                    </a:moveTo>
                    <a:lnTo>
                      <a:pt x="249" y="120"/>
                    </a:lnTo>
                    <a:lnTo>
                      <a:pt x="278" y="164"/>
                    </a:lnTo>
                    <a:lnTo>
                      <a:pt x="281" y="232"/>
                    </a:lnTo>
                    <a:lnTo>
                      <a:pt x="207" y="270"/>
                    </a:lnTo>
                    <a:lnTo>
                      <a:pt x="196" y="301"/>
                    </a:lnTo>
                    <a:lnTo>
                      <a:pt x="219" y="336"/>
                    </a:lnTo>
                    <a:lnTo>
                      <a:pt x="198" y="355"/>
                    </a:lnTo>
                    <a:lnTo>
                      <a:pt x="156" y="364"/>
                    </a:lnTo>
                    <a:lnTo>
                      <a:pt x="120" y="477"/>
                    </a:lnTo>
                    <a:lnTo>
                      <a:pt x="108" y="476"/>
                    </a:lnTo>
                    <a:lnTo>
                      <a:pt x="90" y="428"/>
                    </a:lnTo>
                    <a:lnTo>
                      <a:pt x="18" y="274"/>
                    </a:lnTo>
                    <a:lnTo>
                      <a:pt x="29" y="209"/>
                    </a:lnTo>
                    <a:lnTo>
                      <a:pt x="0" y="152"/>
                    </a:lnTo>
                    <a:lnTo>
                      <a:pt x="14" y="109"/>
                    </a:lnTo>
                    <a:lnTo>
                      <a:pt x="47" y="67"/>
                    </a:lnTo>
                    <a:lnTo>
                      <a:pt x="89" y="37"/>
                    </a:lnTo>
                    <a:lnTo>
                      <a:pt x="139" y="32"/>
                    </a:lnTo>
                    <a:lnTo>
                      <a:pt x="149" y="0"/>
                    </a:lnTo>
                    <a:lnTo>
                      <a:pt x="207" y="4"/>
                    </a:lnTo>
                    <a:lnTo>
                      <a:pt x="233" y="3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7" name="Freeform 107"/>
              <p:cNvSpPr>
                <a:spLocks/>
              </p:cNvSpPr>
              <p:nvPr/>
            </p:nvSpPr>
            <p:spPr bwMode="auto">
              <a:xfrm>
                <a:off x="3257" y="3139"/>
                <a:ext cx="128" cy="123"/>
              </a:xfrm>
              <a:custGeom>
                <a:avLst/>
                <a:gdLst>
                  <a:gd name="T0" fmla="*/ 0 w 683"/>
                  <a:gd name="T1" fmla="*/ 0 h 668"/>
                  <a:gd name="T2" fmla="*/ 0 w 683"/>
                  <a:gd name="T3" fmla="*/ 0 h 668"/>
                  <a:gd name="T4" fmla="*/ 0 w 683"/>
                  <a:gd name="T5" fmla="*/ 0 h 668"/>
                  <a:gd name="T6" fmla="*/ 0 w 683"/>
                  <a:gd name="T7" fmla="*/ 0 h 668"/>
                  <a:gd name="T8" fmla="*/ 0 w 683"/>
                  <a:gd name="T9" fmla="*/ 0 h 668"/>
                  <a:gd name="T10" fmla="*/ 0 w 683"/>
                  <a:gd name="T11" fmla="*/ 0 h 668"/>
                  <a:gd name="T12" fmla="*/ 0 w 683"/>
                  <a:gd name="T13" fmla="*/ 0 h 668"/>
                  <a:gd name="T14" fmla="*/ 0 w 683"/>
                  <a:gd name="T15" fmla="*/ 0 h 668"/>
                  <a:gd name="T16" fmla="*/ 0 w 683"/>
                  <a:gd name="T17" fmla="*/ 0 h 668"/>
                  <a:gd name="T18" fmla="*/ 0 w 683"/>
                  <a:gd name="T19" fmla="*/ 0 h 668"/>
                  <a:gd name="T20" fmla="*/ 0 w 683"/>
                  <a:gd name="T21" fmla="*/ 0 h 668"/>
                  <a:gd name="T22" fmla="*/ 0 w 683"/>
                  <a:gd name="T23" fmla="*/ 0 h 668"/>
                  <a:gd name="T24" fmla="*/ 0 w 683"/>
                  <a:gd name="T25" fmla="*/ 0 h 668"/>
                  <a:gd name="T26" fmla="*/ 0 w 683"/>
                  <a:gd name="T27" fmla="*/ 0 h 668"/>
                  <a:gd name="T28" fmla="*/ 0 w 683"/>
                  <a:gd name="T29" fmla="*/ 0 h 668"/>
                  <a:gd name="T30" fmla="*/ 0 w 683"/>
                  <a:gd name="T31" fmla="*/ 0 h 668"/>
                  <a:gd name="T32" fmla="*/ 0 w 683"/>
                  <a:gd name="T33" fmla="*/ 0 h 668"/>
                  <a:gd name="T34" fmla="*/ 0 w 683"/>
                  <a:gd name="T35" fmla="*/ 0 h 668"/>
                  <a:gd name="T36" fmla="*/ 0 w 683"/>
                  <a:gd name="T37" fmla="*/ 0 h 668"/>
                  <a:gd name="T38" fmla="*/ 0 w 683"/>
                  <a:gd name="T39" fmla="*/ 0 h 668"/>
                  <a:gd name="T40" fmla="*/ 0 w 683"/>
                  <a:gd name="T41" fmla="*/ 0 h 668"/>
                  <a:gd name="T42" fmla="*/ 0 w 683"/>
                  <a:gd name="T43" fmla="*/ 0 h 668"/>
                  <a:gd name="T44" fmla="*/ 0 w 683"/>
                  <a:gd name="T45" fmla="*/ 0 h 668"/>
                  <a:gd name="T46" fmla="*/ 0 w 683"/>
                  <a:gd name="T47" fmla="*/ 0 h 668"/>
                  <a:gd name="T48" fmla="*/ 0 w 683"/>
                  <a:gd name="T49" fmla="*/ 0 h 668"/>
                  <a:gd name="T50" fmla="*/ 0 w 683"/>
                  <a:gd name="T51" fmla="*/ 0 h 668"/>
                  <a:gd name="T52" fmla="*/ 0 w 683"/>
                  <a:gd name="T53" fmla="*/ 0 h 668"/>
                  <a:gd name="T54" fmla="*/ 0 w 683"/>
                  <a:gd name="T55" fmla="*/ 0 h 668"/>
                  <a:gd name="T56" fmla="*/ 0 w 683"/>
                  <a:gd name="T57" fmla="*/ 0 h 668"/>
                  <a:gd name="T58" fmla="*/ 0 w 683"/>
                  <a:gd name="T59" fmla="*/ 0 h 668"/>
                  <a:gd name="T60" fmla="*/ 0 w 683"/>
                  <a:gd name="T61" fmla="*/ 0 h 668"/>
                  <a:gd name="T62" fmla="*/ 0 w 683"/>
                  <a:gd name="T63" fmla="*/ 0 h 668"/>
                  <a:gd name="T64" fmla="*/ 0 w 683"/>
                  <a:gd name="T65" fmla="*/ 0 h 668"/>
                  <a:gd name="T66" fmla="*/ 0 w 683"/>
                  <a:gd name="T67" fmla="*/ 0 h 668"/>
                  <a:gd name="T68" fmla="*/ 0 w 683"/>
                  <a:gd name="T69" fmla="*/ 0 h 668"/>
                  <a:gd name="T70" fmla="*/ 0 w 683"/>
                  <a:gd name="T71" fmla="*/ 0 h 668"/>
                  <a:gd name="T72" fmla="*/ 0 w 683"/>
                  <a:gd name="T73" fmla="*/ 0 h 668"/>
                  <a:gd name="T74" fmla="*/ 0 w 683"/>
                  <a:gd name="T75" fmla="*/ 0 h 668"/>
                  <a:gd name="T76" fmla="*/ 0 w 683"/>
                  <a:gd name="T77" fmla="*/ 0 h 668"/>
                  <a:gd name="T78" fmla="*/ 0 w 683"/>
                  <a:gd name="T79" fmla="*/ 0 h 668"/>
                  <a:gd name="T80" fmla="*/ 0 w 683"/>
                  <a:gd name="T81" fmla="*/ 0 h 668"/>
                  <a:gd name="T82" fmla="*/ 0 w 683"/>
                  <a:gd name="T83" fmla="*/ 0 h 6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3"/>
                  <a:gd name="T127" fmla="*/ 0 h 668"/>
                  <a:gd name="T128" fmla="*/ 683 w 683"/>
                  <a:gd name="T129" fmla="*/ 668 h 66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3" h="668">
                    <a:moveTo>
                      <a:pt x="582" y="69"/>
                    </a:moveTo>
                    <a:lnTo>
                      <a:pt x="603" y="159"/>
                    </a:lnTo>
                    <a:lnTo>
                      <a:pt x="594" y="221"/>
                    </a:lnTo>
                    <a:lnTo>
                      <a:pt x="641" y="320"/>
                    </a:lnTo>
                    <a:lnTo>
                      <a:pt x="669" y="380"/>
                    </a:lnTo>
                    <a:lnTo>
                      <a:pt x="683" y="423"/>
                    </a:lnTo>
                    <a:lnTo>
                      <a:pt x="647" y="440"/>
                    </a:lnTo>
                    <a:lnTo>
                      <a:pt x="600" y="444"/>
                    </a:lnTo>
                    <a:lnTo>
                      <a:pt x="537" y="465"/>
                    </a:lnTo>
                    <a:lnTo>
                      <a:pt x="482" y="467"/>
                    </a:lnTo>
                    <a:lnTo>
                      <a:pt x="418" y="460"/>
                    </a:lnTo>
                    <a:lnTo>
                      <a:pt x="352" y="462"/>
                    </a:lnTo>
                    <a:lnTo>
                      <a:pt x="298" y="455"/>
                    </a:lnTo>
                    <a:lnTo>
                      <a:pt x="250" y="461"/>
                    </a:lnTo>
                    <a:lnTo>
                      <a:pt x="254" y="500"/>
                    </a:lnTo>
                    <a:lnTo>
                      <a:pt x="249" y="536"/>
                    </a:lnTo>
                    <a:lnTo>
                      <a:pt x="245" y="573"/>
                    </a:lnTo>
                    <a:lnTo>
                      <a:pt x="251" y="613"/>
                    </a:lnTo>
                    <a:lnTo>
                      <a:pt x="241" y="628"/>
                    </a:lnTo>
                    <a:lnTo>
                      <a:pt x="217" y="621"/>
                    </a:lnTo>
                    <a:lnTo>
                      <a:pt x="196" y="668"/>
                    </a:lnTo>
                    <a:lnTo>
                      <a:pt x="50" y="628"/>
                    </a:lnTo>
                    <a:lnTo>
                      <a:pt x="70" y="515"/>
                    </a:lnTo>
                    <a:lnTo>
                      <a:pt x="34" y="479"/>
                    </a:lnTo>
                    <a:lnTo>
                      <a:pt x="20" y="408"/>
                    </a:lnTo>
                    <a:lnTo>
                      <a:pt x="52" y="378"/>
                    </a:lnTo>
                    <a:lnTo>
                      <a:pt x="52" y="359"/>
                    </a:lnTo>
                    <a:lnTo>
                      <a:pt x="37" y="350"/>
                    </a:lnTo>
                    <a:lnTo>
                      <a:pt x="24" y="308"/>
                    </a:lnTo>
                    <a:lnTo>
                      <a:pt x="0" y="279"/>
                    </a:lnTo>
                    <a:lnTo>
                      <a:pt x="50" y="236"/>
                    </a:lnTo>
                    <a:lnTo>
                      <a:pt x="57" y="197"/>
                    </a:lnTo>
                    <a:lnTo>
                      <a:pt x="108" y="190"/>
                    </a:lnTo>
                    <a:lnTo>
                      <a:pt x="135" y="164"/>
                    </a:lnTo>
                    <a:lnTo>
                      <a:pt x="165" y="155"/>
                    </a:lnTo>
                    <a:lnTo>
                      <a:pt x="227" y="140"/>
                    </a:lnTo>
                    <a:lnTo>
                      <a:pt x="308" y="64"/>
                    </a:lnTo>
                    <a:lnTo>
                      <a:pt x="327" y="6"/>
                    </a:lnTo>
                    <a:lnTo>
                      <a:pt x="396" y="6"/>
                    </a:lnTo>
                    <a:lnTo>
                      <a:pt x="471" y="0"/>
                    </a:lnTo>
                    <a:lnTo>
                      <a:pt x="519" y="36"/>
                    </a:lnTo>
                    <a:lnTo>
                      <a:pt x="582" y="69"/>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8" name="Freeform 108"/>
              <p:cNvSpPr>
                <a:spLocks/>
              </p:cNvSpPr>
              <p:nvPr/>
            </p:nvSpPr>
            <p:spPr bwMode="auto">
              <a:xfrm>
                <a:off x="3303" y="3217"/>
                <a:ext cx="119" cy="48"/>
              </a:xfrm>
              <a:custGeom>
                <a:avLst/>
                <a:gdLst>
                  <a:gd name="T0" fmla="*/ 0 w 1485"/>
                  <a:gd name="T1" fmla="*/ 0 h 627"/>
                  <a:gd name="T2" fmla="*/ 0 w 1485"/>
                  <a:gd name="T3" fmla="*/ 0 h 627"/>
                  <a:gd name="T4" fmla="*/ 0 w 1485"/>
                  <a:gd name="T5" fmla="*/ 0 h 627"/>
                  <a:gd name="T6" fmla="*/ 0 w 1485"/>
                  <a:gd name="T7" fmla="*/ 0 h 627"/>
                  <a:gd name="T8" fmla="*/ 0 w 1485"/>
                  <a:gd name="T9" fmla="*/ 0 h 627"/>
                  <a:gd name="T10" fmla="*/ 0 w 1485"/>
                  <a:gd name="T11" fmla="*/ 0 h 627"/>
                  <a:gd name="T12" fmla="*/ 0 w 1485"/>
                  <a:gd name="T13" fmla="*/ 0 h 627"/>
                  <a:gd name="T14" fmla="*/ 0 w 1485"/>
                  <a:gd name="T15" fmla="*/ 0 h 627"/>
                  <a:gd name="T16" fmla="*/ 0 w 1485"/>
                  <a:gd name="T17" fmla="*/ 0 h 627"/>
                  <a:gd name="T18" fmla="*/ 0 w 1485"/>
                  <a:gd name="T19" fmla="*/ 0 h 627"/>
                  <a:gd name="T20" fmla="*/ 0 w 1485"/>
                  <a:gd name="T21" fmla="*/ 0 h 627"/>
                  <a:gd name="T22" fmla="*/ 0 w 1485"/>
                  <a:gd name="T23" fmla="*/ 0 h 627"/>
                  <a:gd name="T24" fmla="*/ 0 w 1485"/>
                  <a:gd name="T25" fmla="*/ 0 h 627"/>
                  <a:gd name="T26" fmla="*/ 0 w 1485"/>
                  <a:gd name="T27" fmla="*/ 0 h 627"/>
                  <a:gd name="T28" fmla="*/ 0 w 1485"/>
                  <a:gd name="T29" fmla="*/ 0 h 627"/>
                  <a:gd name="T30" fmla="*/ 0 w 1485"/>
                  <a:gd name="T31" fmla="*/ 0 h 627"/>
                  <a:gd name="T32" fmla="*/ 0 w 1485"/>
                  <a:gd name="T33" fmla="*/ 0 h 627"/>
                  <a:gd name="T34" fmla="*/ 0 w 1485"/>
                  <a:gd name="T35" fmla="*/ 0 h 627"/>
                  <a:gd name="T36" fmla="*/ 0 w 1485"/>
                  <a:gd name="T37" fmla="*/ 0 h 627"/>
                  <a:gd name="T38" fmla="*/ 0 w 1485"/>
                  <a:gd name="T39" fmla="*/ 0 h 627"/>
                  <a:gd name="T40" fmla="*/ 0 w 1485"/>
                  <a:gd name="T41" fmla="*/ 0 h 627"/>
                  <a:gd name="T42" fmla="*/ 0 w 1485"/>
                  <a:gd name="T43" fmla="*/ 0 h 627"/>
                  <a:gd name="T44" fmla="*/ 0 w 1485"/>
                  <a:gd name="T45" fmla="*/ 0 h 627"/>
                  <a:gd name="T46" fmla="*/ 0 w 1485"/>
                  <a:gd name="T47" fmla="*/ 0 h 627"/>
                  <a:gd name="T48" fmla="*/ 0 w 1485"/>
                  <a:gd name="T49" fmla="*/ 0 h 627"/>
                  <a:gd name="T50" fmla="*/ 0 w 1485"/>
                  <a:gd name="T51" fmla="*/ 0 h 627"/>
                  <a:gd name="T52" fmla="*/ 0 w 1485"/>
                  <a:gd name="T53" fmla="*/ 0 h 627"/>
                  <a:gd name="T54" fmla="*/ 0 w 1485"/>
                  <a:gd name="T55" fmla="*/ 0 h 627"/>
                  <a:gd name="T56" fmla="*/ 0 w 1485"/>
                  <a:gd name="T57" fmla="*/ 0 h 627"/>
                  <a:gd name="T58" fmla="*/ 0 w 1485"/>
                  <a:gd name="T59" fmla="*/ 0 h 627"/>
                  <a:gd name="T60" fmla="*/ 0 w 1485"/>
                  <a:gd name="T61" fmla="*/ 0 h 627"/>
                  <a:gd name="T62" fmla="*/ 0 w 1485"/>
                  <a:gd name="T63" fmla="*/ 0 h 627"/>
                  <a:gd name="T64" fmla="*/ 0 w 1485"/>
                  <a:gd name="T65" fmla="*/ 0 h 627"/>
                  <a:gd name="T66" fmla="*/ 0 w 1485"/>
                  <a:gd name="T67" fmla="*/ 0 h 627"/>
                  <a:gd name="T68" fmla="*/ 0 w 1485"/>
                  <a:gd name="T69" fmla="*/ 0 h 6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5"/>
                  <a:gd name="T106" fmla="*/ 0 h 627"/>
                  <a:gd name="T107" fmla="*/ 1485 w 1485"/>
                  <a:gd name="T108" fmla="*/ 627 h 6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5" h="627">
                    <a:moveTo>
                      <a:pt x="6" y="372"/>
                    </a:moveTo>
                    <a:lnTo>
                      <a:pt x="3" y="285"/>
                    </a:lnTo>
                    <a:lnTo>
                      <a:pt x="6" y="189"/>
                    </a:lnTo>
                    <a:lnTo>
                      <a:pt x="6" y="96"/>
                    </a:lnTo>
                    <a:lnTo>
                      <a:pt x="123" y="75"/>
                    </a:lnTo>
                    <a:lnTo>
                      <a:pt x="243" y="93"/>
                    </a:lnTo>
                    <a:lnTo>
                      <a:pt x="405" y="87"/>
                    </a:lnTo>
                    <a:lnTo>
                      <a:pt x="558" y="108"/>
                    </a:lnTo>
                    <a:lnTo>
                      <a:pt x="681" y="102"/>
                    </a:lnTo>
                    <a:lnTo>
                      <a:pt x="828" y="48"/>
                    </a:lnTo>
                    <a:lnTo>
                      <a:pt x="948" y="36"/>
                    </a:lnTo>
                    <a:lnTo>
                      <a:pt x="1029" y="0"/>
                    </a:lnTo>
                    <a:lnTo>
                      <a:pt x="1059" y="6"/>
                    </a:lnTo>
                    <a:lnTo>
                      <a:pt x="1407" y="381"/>
                    </a:lnTo>
                    <a:lnTo>
                      <a:pt x="1485" y="384"/>
                    </a:lnTo>
                    <a:lnTo>
                      <a:pt x="1482" y="444"/>
                    </a:lnTo>
                    <a:lnTo>
                      <a:pt x="1224" y="627"/>
                    </a:lnTo>
                    <a:lnTo>
                      <a:pt x="1092" y="522"/>
                    </a:lnTo>
                    <a:lnTo>
                      <a:pt x="954" y="498"/>
                    </a:lnTo>
                    <a:lnTo>
                      <a:pt x="843" y="489"/>
                    </a:lnTo>
                    <a:lnTo>
                      <a:pt x="780" y="477"/>
                    </a:lnTo>
                    <a:lnTo>
                      <a:pt x="645" y="396"/>
                    </a:lnTo>
                    <a:lnTo>
                      <a:pt x="531" y="336"/>
                    </a:lnTo>
                    <a:lnTo>
                      <a:pt x="450" y="333"/>
                    </a:lnTo>
                    <a:lnTo>
                      <a:pt x="378" y="366"/>
                    </a:lnTo>
                    <a:lnTo>
                      <a:pt x="318" y="426"/>
                    </a:lnTo>
                    <a:lnTo>
                      <a:pt x="297" y="441"/>
                    </a:lnTo>
                    <a:lnTo>
                      <a:pt x="228" y="417"/>
                    </a:lnTo>
                    <a:lnTo>
                      <a:pt x="147" y="405"/>
                    </a:lnTo>
                    <a:lnTo>
                      <a:pt x="84" y="396"/>
                    </a:lnTo>
                    <a:lnTo>
                      <a:pt x="6" y="369"/>
                    </a:lnTo>
                    <a:lnTo>
                      <a:pt x="0" y="294"/>
                    </a:lnTo>
                    <a:lnTo>
                      <a:pt x="6" y="165"/>
                    </a:lnTo>
                    <a:lnTo>
                      <a:pt x="9" y="93"/>
                    </a:lnTo>
                    <a:lnTo>
                      <a:pt x="6" y="372"/>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99" name="Freeform 109"/>
              <p:cNvSpPr>
                <a:spLocks/>
              </p:cNvSpPr>
              <p:nvPr/>
            </p:nvSpPr>
            <p:spPr bwMode="auto">
              <a:xfrm>
                <a:off x="3388" y="3195"/>
                <a:ext cx="40" cy="48"/>
              </a:xfrm>
              <a:custGeom>
                <a:avLst/>
                <a:gdLst>
                  <a:gd name="T0" fmla="*/ 0 w 498"/>
                  <a:gd name="T1" fmla="*/ 0 h 633"/>
                  <a:gd name="T2" fmla="*/ 0 w 498"/>
                  <a:gd name="T3" fmla="*/ 0 h 633"/>
                  <a:gd name="T4" fmla="*/ 0 w 498"/>
                  <a:gd name="T5" fmla="*/ 0 h 633"/>
                  <a:gd name="T6" fmla="*/ 0 w 498"/>
                  <a:gd name="T7" fmla="*/ 0 h 633"/>
                  <a:gd name="T8" fmla="*/ 0 w 498"/>
                  <a:gd name="T9" fmla="*/ 0 h 633"/>
                  <a:gd name="T10" fmla="*/ 0 w 498"/>
                  <a:gd name="T11" fmla="*/ 0 h 633"/>
                  <a:gd name="T12" fmla="*/ 0 w 498"/>
                  <a:gd name="T13" fmla="*/ 0 h 633"/>
                  <a:gd name="T14" fmla="*/ 0 60000 65536"/>
                  <a:gd name="T15" fmla="*/ 0 60000 65536"/>
                  <a:gd name="T16" fmla="*/ 0 60000 65536"/>
                  <a:gd name="T17" fmla="*/ 0 60000 65536"/>
                  <a:gd name="T18" fmla="*/ 0 60000 65536"/>
                  <a:gd name="T19" fmla="*/ 0 60000 65536"/>
                  <a:gd name="T20" fmla="*/ 0 60000 65536"/>
                  <a:gd name="T21" fmla="*/ 0 w 498"/>
                  <a:gd name="T22" fmla="*/ 0 h 633"/>
                  <a:gd name="T23" fmla="*/ 498 w 498"/>
                  <a:gd name="T24" fmla="*/ 633 h 6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8" h="633">
                    <a:moveTo>
                      <a:pt x="498" y="597"/>
                    </a:moveTo>
                    <a:lnTo>
                      <a:pt x="354" y="597"/>
                    </a:lnTo>
                    <a:lnTo>
                      <a:pt x="309" y="633"/>
                    </a:lnTo>
                    <a:lnTo>
                      <a:pt x="0" y="294"/>
                    </a:lnTo>
                    <a:lnTo>
                      <a:pt x="81" y="21"/>
                    </a:lnTo>
                    <a:lnTo>
                      <a:pt x="186" y="0"/>
                    </a:lnTo>
                    <a:lnTo>
                      <a:pt x="498" y="597"/>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0" name="Freeform 110"/>
              <p:cNvSpPr>
                <a:spLocks/>
              </p:cNvSpPr>
              <p:nvPr/>
            </p:nvSpPr>
            <p:spPr bwMode="auto">
              <a:xfrm>
                <a:off x="3403" y="3177"/>
                <a:ext cx="60" cy="65"/>
              </a:xfrm>
              <a:custGeom>
                <a:avLst/>
                <a:gdLst>
                  <a:gd name="T0" fmla="*/ 0 w 756"/>
                  <a:gd name="T1" fmla="*/ 0 h 843"/>
                  <a:gd name="T2" fmla="*/ 0 w 756"/>
                  <a:gd name="T3" fmla="*/ 0 h 843"/>
                  <a:gd name="T4" fmla="*/ 0 w 756"/>
                  <a:gd name="T5" fmla="*/ 0 h 843"/>
                  <a:gd name="T6" fmla="*/ 0 w 756"/>
                  <a:gd name="T7" fmla="*/ 0 h 843"/>
                  <a:gd name="T8" fmla="*/ 0 w 756"/>
                  <a:gd name="T9" fmla="*/ 0 h 843"/>
                  <a:gd name="T10" fmla="*/ 0 w 756"/>
                  <a:gd name="T11" fmla="*/ 0 h 843"/>
                  <a:gd name="T12" fmla="*/ 0 w 756"/>
                  <a:gd name="T13" fmla="*/ 0 h 843"/>
                  <a:gd name="T14" fmla="*/ 0 w 756"/>
                  <a:gd name="T15" fmla="*/ 0 h 843"/>
                  <a:gd name="T16" fmla="*/ 0 w 756"/>
                  <a:gd name="T17" fmla="*/ 0 h 843"/>
                  <a:gd name="T18" fmla="*/ 0 w 756"/>
                  <a:gd name="T19" fmla="*/ 0 h 843"/>
                  <a:gd name="T20" fmla="*/ 0 w 756"/>
                  <a:gd name="T21" fmla="*/ 0 h 843"/>
                  <a:gd name="T22" fmla="*/ 0 w 756"/>
                  <a:gd name="T23" fmla="*/ 0 h 843"/>
                  <a:gd name="T24" fmla="*/ 0 w 756"/>
                  <a:gd name="T25" fmla="*/ 0 h 843"/>
                  <a:gd name="T26" fmla="*/ 0 w 756"/>
                  <a:gd name="T27" fmla="*/ 0 h 843"/>
                  <a:gd name="T28" fmla="*/ 0 w 756"/>
                  <a:gd name="T29" fmla="*/ 0 h 843"/>
                  <a:gd name="T30" fmla="*/ 0 w 756"/>
                  <a:gd name="T31" fmla="*/ 0 h 843"/>
                  <a:gd name="T32" fmla="*/ 0 w 756"/>
                  <a:gd name="T33" fmla="*/ 0 h 843"/>
                  <a:gd name="T34" fmla="*/ 0 w 756"/>
                  <a:gd name="T35" fmla="*/ 0 h 843"/>
                  <a:gd name="T36" fmla="*/ 0 w 756"/>
                  <a:gd name="T37" fmla="*/ 0 h 843"/>
                  <a:gd name="T38" fmla="*/ 0 w 756"/>
                  <a:gd name="T39" fmla="*/ 0 h 843"/>
                  <a:gd name="T40" fmla="*/ 0 w 756"/>
                  <a:gd name="T41" fmla="*/ 0 h 8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56"/>
                  <a:gd name="T64" fmla="*/ 0 h 843"/>
                  <a:gd name="T65" fmla="*/ 756 w 756"/>
                  <a:gd name="T66" fmla="*/ 843 h 8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56" h="843">
                    <a:moveTo>
                      <a:pt x="627" y="843"/>
                    </a:moveTo>
                    <a:lnTo>
                      <a:pt x="507" y="819"/>
                    </a:lnTo>
                    <a:lnTo>
                      <a:pt x="303" y="822"/>
                    </a:lnTo>
                    <a:lnTo>
                      <a:pt x="0" y="231"/>
                    </a:lnTo>
                    <a:lnTo>
                      <a:pt x="45" y="186"/>
                    </a:lnTo>
                    <a:lnTo>
                      <a:pt x="150" y="159"/>
                    </a:lnTo>
                    <a:lnTo>
                      <a:pt x="252" y="177"/>
                    </a:lnTo>
                    <a:lnTo>
                      <a:pt x="345" y="180"/>
                    </a:lnTo>
                    <a:lnTo>
                      <a:pt x="441" y="6"/>
                    </a:lnTo>
                    <a:lnTo>
                      <a:pt x="546" y="0"/>
                    </a:lnTo>
                    <a:lnTo>
                      <a:pt x="642" y="18"/>
                    </a:lnTo>
                    <a:lnTo>
                      <a:pt x="657" y="75"/>
                    </a:lnTo>
                    <a:lnTo>
                      <a:pt x="735" y="87"/>
                    </a:lnTo>
                    <a:lnTo>
                      <a:pt x="711" y="201"/>
                    </a:lnTo>
                    <a:lnTo>
                      <a:pt x="756" y="261"/>
                    </a:lnTo>
                    <a:lnTo>
                      <a:pt x="747" y="336"/>
                    </a:lnTo>
                    <a:lnTo>
                      <a:pt x="516" y="411"/>
                    </a:lnTo>
                    <a:lnTo>
                      <a:pt x="489" y="525"/>
                    </a:lnTo>
                    <a:lnTo>
                      <a:pt x="555" y="594"/>
                    </a:lnTo>
                    <a:lnTo>
                      <a:pt x="606" y="681"/>
                    </a:lnTo>
                    <a:lnTo>
                      <a:pt x="627" y="843"/>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1" name="Freeform 111"/>
              <p:cNvSpPr>
                <a:spLocks/>
              </p:cNvSpPr>
              <p:nvPr/>
            </p:nvSpPr>
            <p:spPr bwMode="auto">
              <a:xfrm>
                <a:off x="3442" y="3182"/>
                <a:ext cx="54" cy="70"/>
              </a:xfrm>
              <a:custGeom>
                <a:avLst/>
                <a:gdLst>
                  <a:gd name="T0" fmla="*/ 0 w 672"/>
                  <a:gd name="T1" fmla="*/ 0 h 915"/>
                  <a:gd name="T2" fmla="*/ 0 w 672"/>
                  <a:gd name="T3" fmla="*/ 0 h 915"/>
                  <a:gd name="T4" fmla="*/ 0 w 672"/>
                  <a:gd name="T5" fmla="*/ 0 h 915"/>
                  <a:gd name="T6" fmla="*/ 0 w 672"/>
                  <a:gd name="T7" fmla="*/ 0 h 915"/>
                  <a:gd name="T8" fmla="*/ 0 w 672"/>
                  <a:gd name="T9" fmla="*/ 0 h 915"/>
                  <a:gd name="T10" fmla="*/ 0 w 672"/>
                  <a:gd name="T11" fmla="*/ 0 h 915"/>
                  <a:gd name="T12" fmla="*/ 0 w 672"/>
                  <a:gd name="T13" fmla="*/ 0 h 915"/>
                  <a:gd name="T14" fmla="*/ 0 w 672"/>
                  <a:gd name="T15" fmla="*/ 0 h 915"/>
                  <a:gd name="T16" fmla="*/ 0 w 672"/>
                  <a:gd name="T17" fmla="*/ 0 h 915"/>
                  <a:gd name="T18" fmla="*/ 0 w 672"/>
                  <a:gd name="T19" fmla="*/ 0 h 915"/>
                  <a:gd name="T20" fmla="*/ 0 w 672"/>
                  <a:gd name="T21" fmla="*/ 0 h 915"/>
                  <a:gd name="T22" fmla="*/ 0 w 672"/>
                  <a:gd name="T23" fmla="*/ 0 h 915"/>
                  <a:gd name="T24" fmla="*/ 0 w 672"/>
                  <a:gd name="T25" fmla="*/ 0 h 915"/>
                  <a:gd name="T26" fmla="*/ 0 w 672"/>
                  <a:gd name="T27" fmla="*/ 0 h 915"/>
                  <a:gd name="T28" fmla="*/ 0 w 672"/>
                  <a:gd name="T29" fmla="*/ 0 h 915"/>
                  <a:gd name="T30" fmla="*/ 0 w 672"/>
                  <a:gd name="T31" fmla="*/ 0 h 915"/>
                  <a:gd name="T32" fmla="*/ 0 w 672"/>
                  <a:gd name="T33" fmla="*/ 0 h 915"/>
                  <a:gd name="T34" fmla="*/ 0 w 672"/>
                  <a:gd name="T35" fmla="*/ 0 h 915"/>
                  <a:gd name="T36" fmla="*/ 0 w 672"/>
                  <a:gd name="T37" fmla="*/ 0 h 915"/>
                  <a:gd name="T38" fmla="*/ 0 w 672"/>
                  <a:gd name="T39" fmla="*/ 0 h 915"/>
                  <a:gd name="T40" fmla="*/ 0 w 672"/>
                  <a:gd name="T41" fmla="*/ 0 h 9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72"/>
                  <a:gd name="T64" fmla="*/ 0 h 915"/>
                  <a:gd name="T65" fmla="*/ 672 w 672"/>
                  <a:gd name="T66" fmla="*/ 915 h 9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72" h="915">
                    <a:moveTo>
                      <a:pt x="576" y="915"/>
                    </a:moveTo>
                    <a:lnTo>
                      <a:pt x="429" y="915"/>
                    </a:lnTo>
                    <a:lnTo>
                      <a:pt x="324" y="906"/>
                    </a:lnTo>
                    <a:lnTo>
                      <a:pt x="192" y="867"/>
                    </a:lnTo>
                    <a:lnTo>
                      <a:pt x="135" y="780"/>
                    </a:lnTo>
                    <a:lnTo>
                      <a:pt x="114" y="612"/>
                    </a:lnTo>
                    <a:lnTo>
                      <a:pt x="69" y="534"/>
                    </a:lnTo>
                    <a:lnTo>
                      <a:pt x="0" y="465"/>
                    </a:lnTo>
                    <a:lnTo>
                      <a:pt x="27" y="348"/>
                    </a:lnTo>
                    <a:lnTo>
                      <a:pt x="258" y="273"/>
                    </a:lnTo>
                    <a:lnTo>
                      <a:pt x="267" y="201"/>
                    </a:lnTo>
                    <a:lnTo>
                      <a:pt x="219" y="132"/>
                    </a:lnTo>
                    <a:lnTo>
                      <a:pt x="246" y="24"/>
                    </a:lnTo>
                    <a:lnTo>
                      <a:pt x="408" y="0"/>
                    </a:lnTo>
                    <a:lnTo>
                      <a:pt x="468" y="168"/>
                    </a:lnTo>
                    <a:lnTo>
                      <a:pt x="639" y="348"/>
                    </a:lnTo>
                    <a:lnTo>
                      <a:pt x="672" y="429"/>
                    </a:lnTo>
                    <a:lnTo>
                      <a:pt x="609" y="483"/>
                    </a:lnTo>
                    <a:lnTo>
                      <a:pt x="606" y="624"/>
                    </a:lnTo>
                    <a:lnTo>
                      <a:pt x="609" y="738"/>
                    </a:lnTo>
                    <a:lnTo>
                      <a:pt x="576" y="915"/>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2" name="Freeform 112"/>
              <p:cNvSpPr>
                <a:spLocks/>
              </p:cNvSpPr>
              <p:nvPr/>
            </p:nvSpPr>
            <p:spPr bwMode="auto">
              <a:xfrm>
                <a:off x="3521" y="3241"/>
                <a:ext cx="87" cy="61"/>
              </a:xfrm>
              <a:custGeom>
                <a:avLst/>
                <a:gdLst>
                  <a:gd name="T0" fmla="*/ 0 w 1089"/>
                  <a:gd name="T1" fmla="*/ 0 h 798"/>
                  <a:gd name="T2" fmla="*/ 0 w 1089"/>
                  <a:gd name="T3" fmla="*/ 0 h 798"/>
                  <a:gd name="T4" fmla="*/ 0 w 1089"/>
                  <a:gd name="T5" fmla="*/ 0 h 798"/>
                  <a:gd name="T6" fmla="*/ 0 w 1089"/>
                  <a:gd name="T7" fmla="*/ 0 h 798"/>
                  <a:gd name="T8" fmla="*/ 0 w 1089"/>
                  <a:gd name="T9" fmla="*/ 0 h 798"/>
                  <a:gd name="T10" fmla="*/ 0 w 1089"/>
                  <a:gd name="T11" fmla="*/ 0 h 798"/>
                  <a:gd name="T12" fmla="*/ 0 w 1089"/>
                  <a:gd name="T13" fmla="*/ 0 h 798"/>
                  <a:gd name="T14" fmla="*/ 0 w 1089"/>
                  <a:gd name="T15" fmla="*/ 0 h 798"/>
                  <a:gd name="T16" fmla="*/ 0 w 1089"/>
                  <a:gd name="T17" fmla="*/ 0 h 798"/>
                  <a:gd name="T18" fmla="*/ 0 w 1089"/>
                  <a:gd name="T19" fmla="*/ 0 h 798"/>
                  <a:gd name="T20" fmla="*/ 0 w 1089"/>
                  <a:gd name="T21" fmla="*/ 0 h 798"/>
                  <a:gd name="T22" fmla="*/ 0 w 1089"/>
                  <a:gd name="T23" fmla="*/ 0 h 798"/>
                  <a:gd name="T24" fmla="*/ 0 w 1089"/>
                  <a:gd name="T25" fmla="*/ 0 h 798"/>
                  <a:gd name="T26" fmla="*/ 0 w 1089"/>
                  <a:gd name="T27" fmla="*/ 0 h 7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89"/>
                  <a:gd name="T43" fmla="*/ 0 h 798"/>
                  <a:gd name="T44" fmla="*/ 1089 w 1089"/>
                  <a:gd name="T45" fmla="*/ 798 h 7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89" h="798">
                    <a:moveTo>
                      <a:pt x="1053" y="0"/>
                    </a:moveTo>
                    <a:lnTo>
                      <a:pt x="1086" y="81"/>
                    </a:lnTo>
                    <a:lnTo>
                      <a:pt x="1089" y="258"/>
                    </a:lnTo>
                    <a:lnTo>
                      <a:pt x="726" y="498"/>
                    </a:lnTo>
                    <a:lnTo>
                      <a:pt x="633" y="618"/>
                    </a:lnTo>
                    <a:lnTo>
                      <a:pt x="432" y="798"/>
                    </a:lnTo>
                    <a:lnTo>
                      <a:pt x="159" y="690"/>
                    </a:lnTo>
                    <a:lnTo>
                      <a:pt x="0" y="582"/>
                    </a:lnTo>
                    <a:lnTo>
                      <a:pt x="303" y="456"/>
                    </a:lnTo>
                    <a:lnTo>
                      <a:pt x="498" y="480"/>
                    </a:lnTo>
                    <a:lnTo>
                      <a:pt x="594" y="87"/>
                    </a:lnTo>
                    <a:lnTo>
                      <a:pt x="660" y="78"/>
                    </a:lnTo>
                    <a:lnTo>
                      <a:pt x="684" y="3"/>
                    </a:lnTo>
                    <a:lnTo>
                      <a:pt x="1053"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3" name="Freeform 113"/>
              <p:cNvSpPr>
                <a:spLocks/>
              </p:cNvSpPr>
              <p:nvPr/>
            </p:nvSpPr>
            <p:spPr bwMode="auto">
              <a:xfrm>
                <a:off x="3500" y="3192"/>
                <a:ext cx="109" cy="93"/>
              </a:xfrm>
              <a:custGeom>
                <a:avLst/>
                <a:gdLst>
                  <a:gd name="T0" fmla="*/ 0 w 1362"/>
                  <a:gd name="T1" fmla="*/ 0 h 1206"/>
                  <a:gd name="T2" fmla="*/ 0 w 1362"/>
                  <a:gd name="T3" fmla="*/ 0 h 1206"/>
                  <a:gd name="T4" fmla="*/ 0 w 1362"/>
                  <a:gd name="T5" fmla="*/ 0 h 1206"/>
                  <a:gd name="T6" fmla="*/ 0 w 1362"/>
                  <a:gd name="T7" fmla="*/ 0 h 1206"/>
                  <a:gd name="T8" fmla="*/ 0 w 1362"/>
                  <a:gd name="T9" fmla="*/ 0 h 1206"/>
                  <a:gd name="T10" fmla="*/ 0 w 1362"/>
                  <a:gd name="T11" fmla="*/ 0 h 1206"/>
                  <a:gd name="T12" fmla="*/ 0 w 1362"/>
                  <a:gd name="T13" fmla="*/ 0 h 1206"/>
                  <a:gd name="T14" fmla="*/ 0 w 1362"/>
                  <a:gd name="T15" fmla="*/ 0 h 1206"/>
                  <a:gd name="T16" fmla="*/ 0 w 1362"/>
                  <a:gd name="T17" fmla="*/ 0 h 1206"/>
                  <a:gd name="T18" fmla="*/ 0 w 1362"/>
                  <a:gd name="T19" fmla="*/ 0 h 1206"/>
                  <a:gd name="T20" fmla="*/ 0 w 1362"/>
                  <a:gd name="T21" fmla="*/ 0 h 1206"/>
                  <a:gd name="T22" fmla="*/ 0 w 1362"/>
                  <a:gd name="T23" fmla="*/ 0 h 1206"/>
                  <a:gd name="T24" fmla="*/ 0 w 1362"/>
                  <a:gd name="T25" fmla="*/ 0 h 1206"/>
                  <a:gd name="T26" fmla="*/ 0 w 1362"/>
                  <a:gd name="T27" fmla="*/ 0 h 1206"/>
                  <a:gd name="T28" fmla="*/ 0 w 1362"/>
                  <a:gd name="T29" fmla="*/ 0 h 1206"/>
                  <a:gd name="T30" fmla="*/ 0 w 1362"/>
                  <a:gd name="T31" fmla="*/ 0 h 1206"/>
                  <a:gd name="T32" fmla="*/ 0 w 1362"/>
                  <a:gd name="T33" fmla="*/ 0 h 1206"/>
                  <a:gd name="T34" fmla="*/ 0 w 1362"/>
                  <a:gd name="T35" fmla="*/ 0 h 1206"/>
                  <a:gd name="T36" fmla="*/ 0 w 1362"/>
                  <a:gd name="T37" fmla="*/ 0 h 1206"/>
                  <a:gd name="T38" fmla="*/ 0 w 1362"/>
                  <a:gd name="T39" fmla="*/ 0 h 1206"/>
                  <a:gd name="T40" fmla="*/ 0 w 1362"/>
                  <a:gd name="T41" fmla="*/ 0 h 1206"/>
                  <a:gd name="T42" fmla="*/ 0 w 1362"/>
                  <a:gd name="T43" fmla="*/ 0 h 1206"/>
                  <a:gd name="T44" fmla="*/ 0 w 1362"/>
                  <a:gd name="T45" fmla="*/ 0 h 1206"/>
                  <a:gd name="T46" fmla="*/ 0 w 1362"/>
                  <a:gd name="T47" fmla="*/ 0 h 1206"/>
                  <a:gd name="T48" fmla="*/ 0 w 1362"/>
                  <a:gd name="T49" fmla="*/ 0 h 1206"/>
                  <a:gd name="T50" fmla="*/ 0 w 1362"/>
                  <a:gd name="T51" fmla="*/ 0 h 1206"/>
                  <a:gd name="T52" fmla="*/ 0 w 1362"/>
                  <a:gd name="T53" fmla="*/ 0 h 12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62"/>
                  <a:gd name="T82" fmla="*/ 0 h 1206"/>
                  <a:gd name="T83" fmla="*/ 1362 w 1362"/>
                  <a:gd name="T84" fmla="*/ 1206 h 12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62" h="1206">
                    <a:moveTo>
                      <a:pt x="1077" y="0"/>
                    </a:moveTo>
                    <a:lnTo>
                      <a:pt x="1176" y="126"/>
                    </a:lnTo>
                    <a:lnTo>
                      <a:pt x="1191" y="204"/>
                    </a:lnTo>
                    <a:lnTo>
                      <a:pt x="1308" y="240"/>
                    </a:lnTo>
                    <a:lnTo>
                      <a:pt x="1344" y="333"/>
                    </a:lnTo>
                    <a:lnTo>
                      <a:pt x="1362" y="456"/>
                    </a:lnTo>
                    <a:lnTo>
                      <a:pt x="1359" y="519"/>
                    </a:lnTo>
                    <a:lnTo>
                      <a:pt x="1314" y="630"/>
                    </a:lnTo>
                    <a:lnTo>
                      <a:pt x="942" y="630"/>
                    </a:lnTo>
                    <a:lnTo>
                      <a:pt x="921" y="705"/>
                    </a:lnTo>
                    <a:lnTo>
                      <a:pt x="852" y="714"/>
                    </a:lnTo>
                    <a:lnTo>
                      <a:pt x="759" y="1110"/>
                    </a:lnTo>
                    <a:lnTo>
                      <a:pt x="567" y="1083"/>
                    </a:lnTo>
                    <a:lnTo>
                      <a:pt x="261" y="1206"/>
                    </a:lnTo>
                    <a:lnTo>
                      <a:pt x="138" y="1113"/>
                    </a:lnTo>
                    <a:lnTo>
                      <a:pt x="0" y="768"/>
                    </a:lnTo>
                    <a:lnTo>
                      <a:pt x="39" y="558"/>
                    </a:lnTo>
                    <a:lnTo>
                      <a:pt x="183" y="549"/>
                    </a:lnTo>
                    <a:lnTo>
                      <a:pt x="288" y="555"/>
                    </a:lnTo>
                    <a:lnTo>
                      <a:pt x="387" y="564"/>
                    </a:lnTo>
                    <a:lnTo>
                      <a:pt x="561" y="495"/>
                    </a:lnTo>
                    <a:lnTo>
                      <a:pt x="615" y="345"/>
                    </a:lnTo>
                    <a:lnTo>
                      <a:pt x="618" y="222"/>
                    </a:lnTo>
                    <a:lnTo>
                      <a:pt x="798" y="165"/>
                    </a:lnTo>
                    <a:lnTo>
                      <a:pt x="870" y="171"/>
                    </a:lnTo>
                    <a:lnTo>
                      <a:pt x="942" y="69"/>
                    </a:lnTo>
                    <a:lnTo>
                      <a:pt x="1077"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4" name="Freeform 114"/>
              <p:cNvSpPr>
                <a:spLocks/>
              </p:cNvSpPr>
              <p:nvPr/>
            </p:nvSpPr>
            <p:spPr bwMode="auto">
              <a:xfrm>
                <a:off x="3456" y="3103"/>
                <a:ext cx="113" cy="111"/>
              </a:xfrm>
              <a:custGeom>
                <a:avLst/>
                <a:gdLst>
                  <a:gd name="T0" fmla="*/ 0 w 1419"/>
                  <a:gd name="T1" fmla="*/ 0 h 1449"/>
                  <a:gd name="T2" fmla="*/ 0 w 1419"/>
                  <a:gd name="T3" fmla="*/ 0 h 1449"/>
                  <a:gd name="T4" fmla="*/ 0 w 1419"/>
                  <a:gd name="T5" fmla="*/ 0 h 1449"/>
                  <a:gd name="T6" fmla="*/ 0 w 1419"/>
                  <a:gd name="T7" fmla="*/ 0 h 1449"/>
                  <a:gd name="T8" fmla="*/ 0 w 1419"/>
                  <a:gd name="T9" fmla="*/ 0 h 1449"/>
                  <a:gd name="T10" fmla="*/ 0 w 1419"/>
                  <a:gd name="T11" fmla="*/ 0 h 1449"/>
                  <a:gd name="T12" fmla="*/ 0 w 1419"/>
                  <a:gd name="T13" fmla="*/ 0 h 1449"/>
                  <a:gd name="T14" fmla="*/ 0 w 1419"/>
                  <a:gd name="T15" fmla="*/ 0 h 1449"/>
                  <a:gd name="T16" fmla="*/ 0 w 1419"/>
                  <a:gd name="T17" fmla="*/ 0 h 1449"/>
                  <a:gd name="T18" fmla="*/ 0 w 1419"/>
                  <a:gd name="T19" fmla="*/ 0 h 1449"/>
                  <a:gd name="T20" fmla="*/ 0 w 1419"/>
                  <a:gd name="T21" fmla="*/ 0 h 1449"/>
                  <a:gd name="T22" fmla="*/ 0 w 1419"/>
                  <a:gd name="T23" fmla="*/ 0 h 1449"/>
                  <a:gd name="T24" fmla="*/ 0 w 1419"/>
                  <a:gd name="T25" fmla="*/ 0 h 1449"/>
                  <a:gd name="T26" fmla="*/ 0 w 1419"/>
                  <a:gd name="T27" fmla="*/ 0 h 1449"/>
                  <a:gd name="T28" fmla="*/ 0 w 1419"/>
                  <a:gd name="T29" fmla="*/ 0 h 1449"/>
                  <a:gd name="T30" fmla="*/ 0 w 1419"/>
                  <a:gd name="T31" fmla="*/ 0 h 1449"/>
                  <a:gd name="T32" fmla="*/ 0 w 1419"/>
                  <a:gd name="T33" fmla="*/ 0 h 1449"/>
                  <a:gd name="T34" fmla="*/ 0 w 1419"/>
                  <a:gd name="T35" fmla="*/ 0 h 1449"/>
                  <a:gd name="T36" fmla="*/ 0 w 1419"/>
                  <a:gd name="T37" fmla="*/ 0 h 1449"/>
                  <a:gd name="T38" fmla="*/ 0 w 1419"/>
                  <a:gd name="T39" fmla="*/ 0 h 1449"/>
                  <a:gd name="T40" fmla="*/ 0 w 1419"/>
                  <a:gd name="T41" fmla="*/ 0 h 1449"/>
                  <a:gd name="T42" fmla="*/ 0 w 1419"/>
                  <a:gd name="T43" fmla="*/ 0 h 1449"/>
                  <a:gd name="T44" fmla="*/ 0 w 1419"/>
                  <a:gd name="T45" fmla="*/ 0 h 1449"/>
                  <a:gd name="T46" fmla="*/ 0 w 1419"/>
                  <a:gd name="T47" fmla="*/ 0 h 1449"/>
                  <a:gd name="T48" fmla="*/ 0 w 1419"/>
                  <a:gd name="T49" fmla="*/ 0 h 1449"/>
                  <a:gd name="T50" fmla="*/ 0 w 1419"/>
                  <a:gd name="T51" fmla="*/ 0 h 1449"/>
                  <a:gd name="T52" fmla="*/ 0 w 1419"/>
                  <a:gd name="T53" fmla="*/ 0 h 1449"/>
                  <a:gd name="T54" fmla="*/ 0 w 1419"/>
                  <a:gd name="T55" fmla="*/ 0 h 1449"/>
                  <a:gd name="T56" fmla="*/ 0 w 1419"/>
                  <a:gd name="T57" fmla="*/ 0 h 1449"/>
                  <a:gd name="T58" fmla="*/ 0 w 1419"/>
                  <a:gd name="T59" fmla="*/ 0 h 1449"/>
                  <a:gd name="T60" fmla="*/ 0 w 1419"/>
                  <a:gd name="T61" fmla="*/ 0 h 1449"/>
                  <a:gd name="T62" fmla="*/ 0 w 1419"/>
                  <a:gd name="T63" fmla="*/ 0 h 1449"/>
                  <a:gd name="T64" fmla="*/ 0 w 1419"/>
                  <a:gd name="T65" fmla="*/ 0 h 1449"/>
                  <a:gd name="T66" fmla="*/ 0 w 1419"/>
                  <a:gd name="T67" fmla="*/ 0 h 1449"/>
                  <a:gd name="T68" fmla="*/ 0 w 1419"/>
                  <a:gd name="T69" fmla="*/ 0 h 1449"/>
                  <a:gd name="T70" fmla="*/ 0 w 1419"/>
                  <a:gd name="T71" fmla="*/ 0 h 1449"/>
                  <a:gd name="T72" fmla="*/ 0 w 1419"/>
                  <a:gd name="T73" fmla="*/ 0 h 1449"/>
                  <a:gd name="T74" fmla="*/ 0 w 1419"/>
                  <a:gd name="T75" fmla="*/ 0 h 1449"/>
                  <a:gd name="T76" fmla="*/ 0 w 1419"/>
                  <a:gd name="T77" fmla="*/ 0 h 1449"/>
                  <a:gd name="T78" fmla="*/ 0 w 1419"/>
                  <a:gd name="T79" fmla="*/ 0 h 1449"/>
                  <a:gd name="T80" fmla="*/ 0 w 1419"/>
                  <a:gd name="T81" fmla="*/ 0 h 1449"/>
                  <a:gd name="T82" fmla="*/ 0 w 1419"/>
                  <a:gd name="T83" fmla="*/ 0 h 1449"/>
                  <a:gd name="T84" fmla="*/ 0 w 1419"/>
                  <a:gd name="T85" fmla="*/ 0 h 1449"/>
                  <a:gd name="T86" fmla="*/ 0 w 1419"/>
                  <a:gd name="T87" fmla="*/ 0 h 1449"/>
                  <a:gd name="T88" fmla="*/ 0 w 1419"/>
                  <a:gd name="T89" fmla="*/ 0 h 1449"/>
                  <a:gd name="T90" fmla="*/ 0 w 1419"/>
                  <a:gd name="T91" fmla="*/ 0 h 14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19"/>
                  <a:gd name="T139" fmla="*/ 0 h 1449"/>
                  <a:gd name="T140" fmla="*/ 1419 w 1419"/>
                  <a:gd name="T141" fmla="*/ 1449 h 14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19" h="1449">
                    <a:moveTo>
                      <a:pt x="1254" y="516"/>
                    </a:moveTo>
                    <a:lnTo>
                      <a:pt x="1152" y="639"/>
                    </a:lnTo>
                    <a:lnTo>
                      <a:pt x="1062" y="792"/>
                    </a:lnTo>
                    <a:lnTo>
                      <a:pt x="972" y="951"/>
                    </a:lnTo>
                    <a:lnTo>
                      <a:pt x="909" y="1068"/>
                    </a:lnTo>
                    <a:lnTo>
                      <a:pt x="864" y="1158"/>
                    </a:lnTo>
                    <a:lnTo>
                      <a:pt x="798" y="1173"/>
                    </a:lnTo>
                    <a:lnTo>
                      <a:pt x="822" y="1263"/>
                    </a:lnTo>
                    <a:lnTo>
                      <a:pt x="699" y="1434"/>
                    </a:lnTo>
                    <a:lnTo>
                      <a:pt x="696" y="1362"/>
                    </a:lnTo>
                    <a:lnTo>
                      <a:pt x="639" y="1365"/>
                    </a:lnTo>
                    <a:lnTo>
                      <a:pt x="549" y="1422"/>
                    </a:lnTo>
                    <a:lnTo>
                      <a:pt x="492" y="1449"/>
                    </a:lnTo>
                    <a:lnTo>
                      <a:pt x="465" y="1380"/>
                    </a:lnTo>
                    <a:lnTo>
                      <a:pt x="294" y="1197"/>
                    </a:lnTo>
                    <a:lnTo>
                      <a:pt x="234" y="1026"/>
                    </a:lnTo>
                    <a:lnTo>
                      <a:pt x="198" y="798"/>
                    </a:lnTo>
                    <a:lnTo>
                      <a:pt x="147" y="678"/>
                    </a:lnTo>
                    <a:lnTo>
                      <a:pt x="111" y="432"/>
                    </a:lnTo>
                    <a:lnTo>
                      <a:pt x="9" y="405"/>
                    </a:lnTo>
                    <a:lnTo>
                      <a:pt x="0" y="375"/>
                    </a:lnTo>
                    <a:lnTo>
                      <a:pt x="51" y="300"/>
                    </a:lnTo>
                    <a:lnTo>
                      <a:pt x="228" y="135"/>
                    </a:lnTo>
                    <a:lnTo>
                      <a:pt x="321" y="141"/>
                    </a:lnTo>
                    <a:lnTo>
                      <a:pt x="423" y="180"/>
                    </a:lnTo>
                    <a:lnTo>
                      <a:pt x="507" y="153"/>
                    </a:lnTo>
                    <a:lnTo>
                      <a:pt x="534" y="48"/>
                    </a:lnTo>
                    <a:lnTo>
                      <a:pt x="864" y="129"/>
                    </a:lnTo>
                    <a:lnTo>
                      <a:pt x="888" y="27"/>
                    </a:lnTo>
                    <a:lnTo>
                      <a:pt x="951" y="0"/>
                    </a:lnTo>
                    <a:lnTo>
                      <a:pt x="1038" y="42"/>
                    </a:lnTo>
                    <a:lnTo>
                      <a:pt x="1095" y="132"/>
                    </a:lnTo>
                    <a:lnTo>
                      <a:pt x="1182" y="174"/>
                    </a:lnTo>
                    <a:lnTo>
                      <a:pt x="1224" y="108"/>
                    </a:lnTo>
                    <a:lnTo>
                      <a:pt x="1248" y="18"/>
                    </a:lnTo>
                    <a:lnTo>
                      <a:pt x="1419" y="84"/>
                    </a:lnTo>
                    <a:lnTo>
                      <a:pt x="1353" y="183"/>
                    </a:lnTo>
                    <a:lnTo>
                      <a:pt x="1257" y="153"/>
                    </a:lnTo>
                    <a:lnTo>
                      <a:pt x="1221" y="180"/>
                    </a:lnTo>
                    <a:lnTo>
                      <a:pt x="1257" y="243"/>
                    </a:lnTo>
                    <a:lnTo>
                      <a:pt x="1179" y="279"/>
                    </a:lnTo>
                    <a:lnTo>
                      <a:pt x="1179" y="390"/>
                    </a:lnTo>
                    <a:lnTo>
                      <a:pt x="1194" y="435"/>
                    </a:lnTo>
                    <a:lnTo>
                      <a:pt x="1230" y="366"/>
                    </a:lnTo>
                    <a:lnTo>
                      <a:pt x="1266" y="387"/>
                    </a:lnTo>
                    <a:lnTo>
                      <a:pt x="1254" y="516"/>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5" name="Freeform 115"/>
              <p:cNvSpPr>
                <a:spLocks/>
              </p:cNvSpPr>
              <p:nvPr/>
            </p:nvSpPr>
            <p:spPr bwMode="auto">
              <a:xfrm>
                <a:off x="3504" y="3137"/>
                <a:ext cx="83" cy="98"/>
              </a:xfrm>
              <a:custGeom>
                <a:avLst/>
                <a:gdLst>
                  <a:gd name="T0" fmla="*/ 0 w 1044"/>
                  <a:gd name="T1" fmla="*/ 0 h 1275"/>
                  <a:gd name="T2" fmla="*/ 0 w 1044"/>
                  <a:gd name="T3" fmla="*/ 0 h 1275"/>
                  <a:gd name="T4" fmla="*/ 0 w 1044"/>
                  <a:gd name="T5" fmla="*/ 0 h 1275"/>
                  <a:gd name="T6" fmla="*/ 0 w 1044"/>
                  <a:gd name="T7" fmla="*/ 0 h 1275"/>
                  <a:gd name="T8" fmla="*/ 0 w 1044"/>
                  <a:gd name="T9" fmla="*/ 0 h 1275"/>
                  <a:gd name="T10" fmla="*/ 0 w 1044"/>
                  <a:gd name="T11" fmla="*/ 0 h 1275"/>
                  <a:gd name="T12" fmla="*/ 0 w 1044"/>
                  <a:gd name="T13" fmla="*/ 0 h 1275"/>
                  <a:gd name="T14" fmla="*/ 0 w 1044"/>
                  <a:gd name="T15" fmla="*/ 0 h 1275"/>
                  <a:gd name="T16" fmla="*/ 0 w 1044"/>
                  <a:gd name="T17" fmla="*/ 0 h 1275"/>
                  <a:gd name="T18" fmla="*/ 0 w 1044"/>
                  <a:gd name="T19" fmla="*/ 0 h 1275"/>
                  <a:gd name="T20" fmla="*/ 0 w 1044"/>
                  <a:gd name="T21" fmla="*/ 0 h 1275"/>
                  <a:gd name="T22" fmla="*/ 0 w 1044"/>
                  <a:gd name="T23" fmla="*/ 0 h 1275"/>
                  <a:gd name="T24" fmla="*/ 0 w 1044"/>
                  <a:gd name="T25" fmla="*/ 0 h 1275"/>
                  <a:gd name="T26" fmla="*/ 0 w 1044"/>
                  <a:gd name="T27" fmla="*/ 0 h 1275"/>
                  <a:gd name="T28" fmla="*/ 0 w 1044"/>
                  <a:gd name="T29" fmla="*/ 0 h 1275"/>
                  <a:gd name="T30" fmla="*/ 0 w 1044"/>
                  <a:gd name="T31" fmla="*/ 0 h 1275"/>
                  <a:gd name="T32" fmla="*/ 0 w 1044"/>
                  <a:gd name="T33" fmla="*/ 0 h 1275"/>
                  <a:gd name="T34" fmla="*/ 0 w 1044"/>
                  <a:gd name="T35" fmla="*/ 0 h 1275"/>
                  <a:gd name="T36" fmla="*/ 0 w 1044"/>
                  <a:gd name="T37" fmla="*/ 0 h 1275"/>
                  <a:gd name="T38" fmla="*/ 0 w 1044"/>
                  <a:gd name="T39" fmla="*/ 0 h 1275"/>
                  <a:gd name="T40" fmla="*/ 0 w 1044"/>
                  <a:gd name="T41" fmla="*/ 0 h 1275"/>
                  <a:gd name="T42" fmla="*/ 0 w 1044"/>
                  <a:gd name="T43" fmla="*/ 0 h 1275"/>
                  <a:gd name="T44" fmla="*/ 0 w 1044"/>
                  <a:gd name="T45" fmla="*/ 0 h 1275"/>
                  <a:gd name="T46" fmla="*/ 0 w 1044"/>
                  <a:gd name="T47" fmla="*/ 0 h 1275"/>
                  <a:gd name="T48" fmla="*/ 0 w 1044"/>
                  <a:gd name="T49" fmla="*/ 0 h 12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44"/>
                  <a:gd name="T76" fmla="*/ 0 h 1275"/>
                  <a:gd name="T77" fmla="*/ 1044 w 1044"/>
                  <a:gd name="T78" fmla="*/ 1275 h 127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44" h="1275">
                    <a:moveTo>
                      <a:pt x="744" y="0"/>
                    </a:moveTo>
                    <a:lnTo>
                      <a:pt x="717" y="84"/>
                    </a:lnTo>
                    <a:lnTo>
                      <a:pt x="666" y="150"/>
                    </a:lnTo>
                    <a:lnTo>
                      <a:pt x="633" y="255"/>
                    </a:lnTo>
                    <a:lnTo>
                      <a:pt x="423" y="564"/>
                    </a:lnTo>
                    <a:lnTo>
                      <a:pt x="363" y="678"/>
                    </a:lnTo>
                    <a:lnTo>
                      <a:pt x="282" y="837"/>
                    </a:lnTo>
                    <a:lnTo>
                      <a:pt x="195" y="996"/>
                    </a:lnTo>
                    <a:lnTo>
                      <a:pt x="129" y="1074"/>
                    </a:lnTo>
                    <a:lnTo>
                      <a:pt x="0" y="1275"/>
                    </a:lnTo>
                    <a:lnTo>
                      <a:pt x="195" y="1260"/>
                    </a:lnTo>
                    <a:lnTo>
                      <a:pt x="342" y="1275"/>
                    </a:lnTo>
                    <a:lnTo>
                      <a:pt x="522" y="1209"/>
                    </a:lnTo>
                    <a:lnTo>
                      <a:pt x="582" y="1056"/>
                    </a:lnTo>
                    <a:lnTo>
                      <a:pt x="585" y="939"/>
                    </a:lnTo>
                    <a:lnTo>
                      <a:pt x="768" y="879"/>
                    </a:lnTo>
                    <a:lnTo>
                      <a:pt x="834" y="885"/>
                    </a:lnTo>
                    <a:lnTo>
                      <a:pt x="909" y="780"/>
                    </a:lnTo>
                    <a:lnTo>
                      <a:pt x="1044" y="708"/>
                    </a:lnTo>
                    <a:lnTo>
                      <a:pt x="981" y="567"/>
                    </a:lnTo>
                    <a:lnTo>
                      <a:pt x="918" y="459"/>
                    </a:lnTo>
                    <a:lnTo>
                      <a:pt x="885" y="324"/>
                    </a:lnTo>
                    <a:lnTo>
                      <a:pt x="885" y="147"/>
                    </a:lnTo>
                    <a:lnTo>
                      <a:pt x="831" y="0"/>
                    </a:lnTo>
                    <a:lnTo>
                      <a:pt x="744"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806" name="Freeform 116"/>
              <p:cNvSpPr>
                <a:spLocks/>
              </p:cNvSpPr>
              <p:nvPr/>
            </p:nvSpPr>
            <p:spPr bwMode="auto">
              <a:xfrm>
                <a:off x="3483" y="3142"/>
                <a:ext cx="41" cy="33"/>
              </a:xfrm>
              <a:custGeom>
                <a:avLst/>
                <a:gdLst>
                  <a:gd name="T0" fmla="*/ 0 w 519"/>
                  <a:gd name="T1" fmla="*/ 0 h 432"/>
                  <a:gd name="T2" fmla="*/ 0 w 519"/>
                  <a:gd name="T3" fmla="*/ 0 h 432"/>
                  <a:gd name="T4" fmla="*/ 0 w 519"/>
                  <a:gd name="T5" fmla="*/ 0 h 432"/>
                  <a:gd name="T6" fmla="*/ 0 w 519"/>
                  <a:gd name="T7" fmla="*/ 0 h 432"/>
                  <a:gd name="T8" fmla="*/ 0 w 519"/>
                  <a:gd name="T9" fmla="*/ 0 h 432"/>
                  <a:gd name="T10" fmla="*/ 0 w 519"/>
                  <a:gd name="T11" fmla="*/ 0 h 432"/>
                  <a:gd name="T12" fmla="*/ 0 w 519"/>
                  <a:gd name="T13" fmla="*/ 0 h 432"/>
                  <a:gd name="T14" fmla="*/ 0 w 519"/>
                  <a:gd name="T15" fmla="*/ 0 h 432"/>
                  <a:gd name="T16" fmla="*/ 0 w 519"/>
                  <a:gd name="T17" fmla="*/ 0 h 432"/>
                  <a:gd name="T18" fmla="*/ 0 w 519"/>
                  <a:gd name="T19" fmla="*/ 0 h 432"/>
                  <a:gd name="T20" fmla="*/ 0 w 519"/>
                  <a:gd name="T21" fmla="*/ 0 h 432"/>
                  <a:gd name="T22" fmla="*/ 0 w 519"/>
                  <a:gd name="T23" fmla="*/ 0 h 432"/>
                  <a:gd name="T24" fmla="*/ 0 w 519"/>
                  <a:gd name="T25" fmla="*/ 0 h 4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9"/>
                  <a:gd name="T40" fmla="*/ 0 h 432"/>
                  <a:gd name="T41" fmla="*/ 519 w 519"/>
                  <a:gd name="T42" fmla="*/ 432 h 4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9" h="432">
                    <a:moveTo>
                      <a:pt x="333" y="0"/>
                    </a:moveTo>
                    <a:lnTo>
                      <a:pt x="366" y="93"/>
                    </a:lnTo>
                    <a:lnTo>
                      <a:pt x="447" y="189"/>
                    </a:lnTo>
                    <a:lnTo>
                      <a:pt x="516" y="228"/>
                    </a:lnTo>
                    <a:lnTo>
                      <a:pt x="519" y="330"/>
                    </a:lnTo>
                    <a:lnTo>
                      <a:pt x="330" y="429"/>
                    </a:lnTo>
                    <a:lnTo>
                      <a:pt x="126" y="432"/>
                    </a:lnTo>
                    <a:lnTo>
                      <a:pt x="42" y="411"/>
                    </a:lnTo>
                    <a:lnTo>
                      <a:pt x="12" y="360"/>
                    </a:lnTo>
                    <a:lnTo>
                      <a:pt x="0" y="282"/>
                    </a:lnTo>
                    <a:lnTo>
                      <a:pt x="54" y="174"/>
                    </a:lnTo>
                    <a:lnTo>
                      <a:pt x="165" y="135"/>
                    </a:lnTo>
                    <a:lnTo>
                      <a:pt x="333" y="0"/>
                    </a:lnTo>
                    <a:close/>
                  </a:path>
                </a:pathLst>
              </a:custGeom>
              <a:solidFill>
                <a:srgbClr val="DDDDDD"/>
              </a:solidFill>
              <a:ln w="9525">
                <a:solidFill>
                  <a:schemeClr val="bg1"/>
                </a:solidFill>
                <a:round/>
                <a:headEnd/>
                <a:tailEn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9783" name="Freeform 117"/>
            <p:cNvSpPr>
              <a:spLocks/>
            </p:cNvSpPr>
            <p:nvPr/>
          </p:nvSpPr>
          <p:spPr bwMode="auto">
            <a:xfrm>
              <a:off x="4300" y="3574"/>
              <a:ext cx="211" cy="232"/>
            </a:xfrm>
            <a:custGeom>
              <a:avLst/>
              <a:gdLst>
                <a:gd name="T0" fmla="*/ 0 w 1652"/>
                <a:gd name="T1" fmla="*/ 0 h 1956"/>
                <a:gd name="T2" fmla="*/ 0 w 1652"/>
                <a:gd name="T3" fmla="*/ 0 h 1956"/>
                <a:gd name="T4" fmla="*/ 0 w 1652"/>
                <a:gd name="T5" fmla="*/ 0 h 1956"/>
                <a:gd name="T6" fmla="*/ 0 w 1652"/>
                <a:gd name="T7" fmla="*/ 0 h 1956"/>
                <a:gd name="T8" fmla="*/ 0 w 1652"/>
                <a:gd name="T9" fmla="*/ 0 h 1956"/>
                <a:gd name="T10" fmla="*/ 0 w 1652"/>
                <a:gd name="T11" fmla="*/ 0 h 1956"/>
                <a:gd name="T12" fmla="*/ 0 w 1652"/>
                <a:gd name="T13" fmla="*/ 0 h 1956"/>
                <a:gd name="T14" fmla="*/ 0 w 1652"/>
                <a:gd name="T15" fmla="*/ 0 h 1956"/>
                <a:gd name="T16" fmla="*/ 0 w 1652"/>
                <a:gd name="T17" fmla="*/ 0 h 1956"/>
                <a:gd name="T18" fmla="*/ 0 w 1652"/>
                <a:gd name="T19" fmla="*/ 0 h 1956"/>
                <a:gd name="T20" fmla="*/ 0 w 1652"/>
                <a:gd name="T21" fmla="*/ 0 h 1956"/>
                <a:gd name="T22" fmla="*/ 0 w 1652"/>
                <a:gd name="T23" fmla="*/ 0 h 1956"/>
                <a:gd name="T24" fmla="*/ 0 w 1652"/>
                <a:gd name="T25" fmla="*/ 0 h 1956"/>
                <a:gd name="T26" fmla="*/ 0 w 1652"/>
                <a:gd name="T27" fmla="*/ 0 h 1956"/>
                <a:gd name="T28" fmla="*/ 0 w 1652"/>
                <a:gd name="T29" fmla="*/ 0 h 1956"/>
                <a:gd name="T30" fmla="*/ 0 w 1652"/>
                <a:gd name="T31" fmla="*/ 0 h 1956"/>
                <a:gd name="T32" fmla="*/ 0 w 1652"/>
                <a:gd name="T33" fmla="*/ 0 h 1956"/>
                <a:gd name="T34" fmla="*/ 0 w 1652"/>
                <a:gd name="T35" fmla="*/ 0 h 1956"/>
                <a:gd name="T36" fmla="*/ 0 w 1652"/>
                <a:gd name="T37" fmla="*/ 0 h 1956"/>
                <a:gd name="T38" fmla="*/ 0 w 1652"/>
                <a:gd name="T39" fmla="*/ 0 h 1956"/>
                <a:gd name="T40" fmla="*/ 0 w 1652"/>
                <a:gd name="T41" fmla="*/ 0 h 1956"/>
                <a:gd name="T42" fmla="*/ 0 w 1652"/>
                <a:gd name="T43" fmla="*/ 0 h 1956"/>
                <a:gd name="T44" fmla="*/ 0 w 1652"/>
                <a:gd name="T45" fmla="*/ 0 h 1956"/>
                <a:gd name="T46" fmla="*/ 0 w 1652"/>
                <a:gd name="T47" fmla="*/ 0 h 1956"/>
                <a:gd name="T48" fmla="*/ 0 w 1652"/>
                <a:gd name="T49" fmla="*/ 0 h 1956"/>
                <a:gd name="T50" fmla="*/ 0 w 1652"/>
                <a:gd name="T51" fmla="*/ 0 h 1956"/>
                <a:gd name="T52" fmla="*/ 0 w 1652"/>
                <a:gd name="T53" fmla="*/ 0 h 1956"/>
                <a:gd name="T54" fmla="*/ 0 w 1652"/>
                <a:gd name="T55" fmla="*/ 0 h 1956"/>
                <a:gd name="T56" fmla="*/ 0 w 1652"/>
                <a:gd name="T57" fmla="*/ 0 h 1956"/>
                <a:gd name="T58" fmla="*/ 0 w 1652"/>
                <a:gd name="T59" fmla="*/ 0 h 1956"/>
                <a:gd name="T60" fmla="*/ 0 w 1652"/>
                <a:gd name="T61" fmla="*/ 0 h 1956"/>
                <a:gd name="T62" fmla="*/ 0 w 1652"/>
                <a:gd name="T63" fmla="*/ 0 h 1956"/>
                <a:gd name="T64" fmla="*/ 0 w 1652"/>
                <a:gd name="T65" fmla="*/ 0 h 1956"/>
                <a:gd name="T66" fmla="*/ 0 w 1652"/>
                <a:gd name="T67" fmla="*/ 0 h 1956"/>
                <a:gd name="T68" fmla="*/ 0 w 1652"/>
                <a:gd name="T69" fmla="*/ 0 h 1956"/>
                <a:gd name="T70" fmla="*/ 0 w 1652"/>
                <a:gd name="T71" fmla="*/ 0 h 1956"/>
                <a:gd name="T72" fmla="*/ 0 w 1652"/>
                <a:gd name="T73" fmla="*/ 0 h 1956"/>
                <a:gd name="T74" fmla="*/ 0 w 1652"/>
                <a:gd name="T75" fmla="*/ 0 h 1956"/>
                <a:gd name="T76" fmla="*/ 0 w 1652"/>
                <a:gd name="T77" fmla="*/ 0 h 1956"/>
                <a:gd name="T78" fmla="*/ 0 w 1652"/>
                <a:gd name="T79" fmla="*/ 0 h 1956"/>
                <a:gd name="T80" fmla="*/ 0 w 1652"/>
                <a:gd name="T81" fmla="*/ 0 h 1956"/>
                <a:gd name="T82" fmla="*/ 0 w 1652"/>
                <a:gd name="T83" fmla="*/ 0 h 1956"/>
                <a:gd name="T84" fmla="*/ 0 w 1652"/>
                <a:gd name="T85" fmla="*/ 0 h 1956"/>
                <a:gd name="T86" fmla="*/ 0 w 1652"/>
                <a:gd name="T87" fmla="*/ 0 h 19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52"/>
                <a:gd name="T133" fmla="*/ 0 h 1956"/>
                <a:gd name="T134" fmla="*/ 1652 w 1652"/>
                <a:gd name="T135" fmla="*/ 1956 h 19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52" h="1956">
                  <a:moveTo>
                    <a:pt x="268" y="0"/>
                  </a:moveTo>
                  <a:lnTo>
                    <a:pt x="400" y="164"/>
                  </a:lnTo>
                  <a:lnTo>
                    <a:pt x="448" y="320"/>
                  </a:lnTo>
                  <a:lnTo>
                    <a:pt x="616" y="364"/>
                  </a:lnTo>
                  <a:lnTo>
                    <a:pt x="820" y="500"/>
                  </a:lnTo>
                  <a:lnTo>
                    <a:pt x="872" y="544"/>
                  </a:lnTo>
                  <a:lnTo>
                    <a:pt x="952" y="504"/>
                  </a:lnTo>
                  <a:lnTo>
                    <a:pt x="1036" y="624"/>
                  </a:lnTo>
                  <a:lnTo>
                    <a:pt x="1184" y="768"/>
                  </a:lnTo>
                  <a:lnTo>
                    <a:pt x="1424" y="908"/>
                  </a:lnTo>
                  <a:lnTo>
                    <a:pt x="1524" y="948"/>
                  </a:lnTo>
                  <a:lnTo>
                    <a:pt x="1576" y="924"/>
                  </a:lnTo>
                  <a:lnTo>
                    <a:pt x="1644" y="1072"/>
                  </a:lnTo>
                  <a:lnTo>
                    <a:pt x="1592" y="1112"/>
                  </a:lnTo>
                  <a:lnTo>
                    <a:pt x="1652" y="1356"/>
                  </a:lnTo>
                  <a:lnTo>
                    <a:pt x="1504" y="1640"/>
                  </a:lnTo>
                  <a:lnTo>
                    <a:pt x="1524" y="1700"/>
                  </a:lnTo>
                  <a:lnTo>
                    <a:pt x="1536" y="1780"/>
                  </a:lnTo>
                  <a:lnTo>
                    <a:pt x="1368" y="1948"/>
                  </a:lnTo>
                  <a:lnTo>
                    <a:pt x="1320" y="1956"/>
                  </a:lnTo>
                  <a:lnTo>
                    <a:pt x="1292" y="1920"/>
                  </a:lnTo>
                  <a:lnTo>
                    <a:pt x="1164" y="1904"/>
                  </a:lnTo>
                  <a:lnTo>
                    <a:pt x="1016" y="1888"/>
                  </a:lnTo>
                  <a:lnTo>
                    <a:pt x="872" y="1788"/>
                  </a:lnTo>
                  <a:lnTo>
                    <a:pt x="832" y="1788"/>
                  </a:lnTo>
                  <a:lnTo>
                    <a:pt x="676" y="1676"/>
                  </a:lnTo>
                  <a:lnTo>
                    <a:pt x="628" y="1668"/>
                  </a:lnTo>
                  <a:lnTo>
                    <a:pt x="572" y="1644"/>
                  </a:lnTo>
                  <a:lnTo>
                    <a:pt x="504" y="1644"/>
                  </a:lnTo>
                  <a:lnTo>
                    <a:pt x="392" y="1568"/>
                  </a:lnTo>
                  <a:lnTo>
                    <a:pt x="328" y="1584"/>
                  </a:lnTo>
                  <a:lnTo>
                    <a:pt x="160" y="1472"/>
                  </a:lnTo>
                  <a:lnTo>
                    <a:pt x="116" y="1416"/>
                  </a:lnTo>
                  <a:lnTo>
                    <a:pt x="84" y="1424"/>
                  </a:lnTo>
                  <a:lnTo>
                    <a:pt x="8" y="1340"/>
                  </a:lnTo>
                  <a:lnTo>
                    <a:pt x="0" y="1256"/>
                  </a:lnTo>
                  <a:lnTo>
                    <a:pt x="44" y="1216"/>
                  </a:lnTo>
                  <a:lnTo>
                    <a:pt x="64" y="992"/>
                  </a:lnTo>
                  <a:lnTo>
                    <a:pt x="24" y="780"/>
                  </a:lnTo>
                  <a:lnTo>
                    <a:pt x="32" y="600"/>
                  </a:lnTo>
                  <a:lnTo>
                    <a:pt x="196" y="180"/>
                  </a:lnTo>
                  <a:lnTo>
                    <a:pt x="200" y="96"/>
                  </a:lnTo>
                  <a:lnTo>
                    <a:pt x="220" y="28"/>
                  </a:lnTo>
                  <a:lnTo>
                    <a:pt x="268" y="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9784" name="Group 118"/>
            <p:cNvGrpSpPr>
              <a:grpSpLocks/>
            </p:cNvGrpSpPr>
            <p:nvPr/>
          </p:nvGrpSpPr>
          <p:grpSpPr bwMode="auto">
            <a:xfrm>
              <a:off x="918" y="3174"/>
              <a:ext cx="1128" cy="591"/>
              <a:chOff x="729" y="3496"/>
              <a:chExt cx="1128" cy="591"/>
            </a:xfrm>
          </p:grpSpPr>
          <p:sp>
            <p:nvSpPr>
              <p:cNvPr id="29785" name="Freeform 119"/>
              <p:cNvSpPr>
                <a:spLocks/>
              </p:cNvSpPr>
              <p:nvPr/>
            </p:nvSpPr>
            <p:spPr bwMode="auto">
              <a:xfrm>
                <a:off x="729" y="3628"/>
                <a:ext cx="545" cy="366"/>
              </a:xfrm>
              <a:custGeom>
                <a:avLst/>
                <a:gdLst>
                  <a:gd name="T0" fmla="*/ 0 w 1365"/>
                  <a:gd name="T1" fmla="*/ 0 h 1122"/>
                  <a:gd name="T2" fmla="*/ 0 w 1365"/>
                  <a:gd name="T3" fmla="*/ 0 h 1122"/>
                  <a:gd name="T4" fmla="*/ 0 w 1365"/>
                  <a:gd name="T5" fmla="*/ 0 h 1122"/>
                  <a:gd name="T6" fmla="*/ 0 w 1365"/>
                  <a:gd name="T7" fmla="*/ 0 h 1122"/>
                  <a:gd name="T8" fmla="*/ 0 w 1365"/>
                  <a:gd name="T9" fmla="*/ 0 h 1122"/>
                  <a:gd name="T10" fmla="*/ 0 w 1365"/>
                  <a:gd name="T11" fmla="*/ 0 h 1122"/>
                  <a:gd name="T12" fmla="*/ 0 w 1365"/>
                  <a:gd name="T13" fmla="*/ 0 h 1122"/>
                  <a:gd name="T14" fmla="*/ 0 w 1365"/>
                  <a:gd name="T15" fmla="*/ 0 h 1122"/>
                  <a:gd name="T16" fmla="*/ 0 w 1365"/>
                  <a:gd name="T17" fmla="*/ 0 h 1122"/>
                  <a:gd name="T18" fmla="*/ 0 w 1365"/>
                  <a:gd name="T19" fmla="*/ 0 h 1122"/>
                  <a:gd name="T20" fmla="*/ 0 w 1365"/>
                  <a:gd name="T21" fmla="*/ 0 h 1122"/>
                  <a:gd name="T22" fmla="*/ 0 w 1365"/>
                  <a:gd name="T23" fmla="*/ 0 h 1122"/>
                  <a:gd name="T24" fmla="*/ 0 w 1365"/>
                  <a:gd name="T25" fmla="*/ 0 h 1122"/>
                  <a:gd name="T26" fmla="*/ 0 w 1365"/>
                  <a:gd name="T27" fmla="*/ 0 h 1122"/>
                  <a:gd name="T28" fmla="*/ 0 w 1365"/>
                  <a:gd name="T29" fmla="*/ 0 h 1122"/>
                  <a:gd name="T30" fmla="*/ 0 w 1365"/>
                  <a:gd name="T31" fmla="*/ 0 h 1122"/>
                  <a:gd name="T32" fmla="*/ 0 w 1365"/>
                  <a:gd name="T33" fmla="*/ 0 h 1122"/>
                  <a:gd name="T34" fmla="*/ 0 w 1365"/>
                  <a:gd name="T35" fmla="*/ 0 h 1122"/>
                  <a:gd name="T36" fmla="*/ 0 w 1365"/>
                  <a:gd name="T37" fmla="*/ 0 h 1122"/>
                  <a:gd name="T38" fmla="*/ 0 w 1365"/>
                  <a:gd name="T39" fmla="*/ 0 h 1122"/>
                  <a:gd name="T40" fmla="*/ 0 w 1365"/>
                  <a:gd name="T41" fmla="*/ 0 h 1122"/>
                  <a:gd name="T42" fmla="*/ 0 w 1365"/>
                  <a:gd name="T43" fmla="*/ 0 h 1122"/>
                  <a:gd name="T44" fmla="*/ 0 w 1365"/>
                  <a:gd name="T45" fmla="*/ 0 h 1122"/>
                  <a:gd name="T46" fmla="*/ 0 w 1365"/>
                  <a:gd name="T47" fmla="*/ 0 h 1122"/>
                  <a:gd name="T48" fmla="*/ 0 w 1365"/>
                  <a:gd name="T49" fmla="*/ 0 h 1122"/>
                  <a:gd name="T50" fmla="*/ 0 w 1365"/>
                  <a:gd name="T51" fmla="*/ 0 h 1122"/>
                  <a:gd name="T52" fmla="*/ 0 w 1365"/>
                  <a:gd name="T53" fmla="*/ 0 h 1122"/>
                  <a:gd name="T54" fmla="*/ 0 w 1365"/>
                  <a:gd name="T55" fmla="*/ 0 h 1122"/>
                  <a:gd name="T56" fmla="*/ 0 w 1365"/>
                  <a:gd name="T57" fmla="*/ 0 h 1122"/>
                  <a:gd name="T58" fmla="*/ 0 w 1365"/>
                  <a:gd name="T59" fmla="*/ 0 h 1122"/>
                  <a:gd name="T60" fmla="*/ 0 w 1365"/>
                  <a:gd name="T61" fmla="*/ 0 h 1122"/>
                  <a:gd name="T62" fmla="*/ 0 w 1365"/>
                  <a:gd name="T63" fmla="*/ 0 h 1122"/>
                  <a:gd name="T64" fmla="*/ 0 w 1365"/>
                  <a:gd name="T65" fmla="*/ 0 h 1122"/>
                  <a:gd name="T66" fmla="*/ 0 w 1365"/>
                  <a:gd name="T67" fmla="*/ 0 h 1122"/>
                  <a:gd name="T68" fmla="*/ 0 w 1365"/>
                  <a:gd name="T69" fmla="*/ 0 h 1122"/>
                  <a:gd name="T70" fmla="*/ 0 w 1365"/>
                  <a:gd name="T71" fmla="*/ 0 h 1122"/>
                  <a:gd name="T72" fmla="*/ 0 w 1365"/>
                  <a:gd name="T73" fmla="*/ 0 h 1122"/>
                  <a:gd name="T74" fmla="*/ 0 w 1365"/>
                  <a:gd name="T75" fmla="*/ 0 h 1122"/>
                  <a:gd name="T76" fmla="*/ 0 w 1365"/>
                  <a:gd name="T77" fmla="*/ 0 h 1122"/>
                  <a:gd name="T78" fmla="*/ 0 w 1365"/>
                  <a:gd name="T79" fmla="*/ 0 h 1122"/>
                  <a:gd name="T80" fmla="*/ 0 w 1365"/>
                  <a:gd name="T81" fmla="*/ 0 h 1122"/>
                  <a:gd name="T82" fmla="*/ 0 w 1365"/>
                  <a:gd name="T83" fmla="*/ 0 h 1122"/>
                  <a:gd name="T84" fmla="*/ 0 w 1365"/>
                  <a:gd name="T85" fmla="*/ 0 h 1122"/>
                  <a:gd name="T86" fmla="*/ 0 w 1365"/>
                  <a:gd name="T87" fmla="*/ 0 h 1122"/>
                  <a:gd name="T88" fmla="*/ 0 w 1365"/>
                  <a:gd name="T89" fmla="*/ 0 h 1122"/>
                  <a:gd name="T90" fmla="*/ 0 w 1365"/>
                  <a:gd name="T91" fmla="*/ 0 h 112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65"/>
                  <a:gd name="T139" fmla="*/ 0 h 1122"/>
                  <a:gd name="T140" fmla="*/ 1365 w 1365"/>
                  <a:gd name="T141" fmla="*/ 1122 h 112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65" h="1122">
                    <a:moveTo>
                      <a:pt x="930" y="1116"/>
                    </a:moveTo>
                    <a:cubicBezTo>
                      <a:pt x="930" y="1105"/>
                      <a:pt x="942" y="1079"/>
                      <a:pt x="948" y="1065"/>
                    </a:cubicBezTo>
                    <a:lnTo>
                      <a:pt x="963" y="1023"/>
                    </a:lnTo>
                    <a:lnTo>
                      <a:pt x="936" y="1005"/>
                    </a:lnTo>
                    <a:lnTo>
                      <a:pt x="921" y="966"/>
                    </a:lnTo>
                    <a:lnTo>
                      <a:pt x="936" y="948"/>
                    </a:lnTo>
                    <a:lnTo>
                      <a:pt x="975" y="888"/>
                    </a:lnTo>
                    <a:lnTo>
                      <a:pt x="1035" y="870"/>
                    </a:lnTo>
                    <a:lnTo>
                      <a:pt x="1062" y="813"/>
                    </a:lnTo>
                    <a:lnTo>
                      <a:pt x="1035" y="717"/>
                    </a:lnTo>
                    <a:lnTo>
                      <a:pt x="1059" y="690"/>
                    </a:lnTo>
                    <a:lnTo>
                      <a:pt x="1062" y="654"/>
                    </a:lnTo>
                    <a:lnTo>
                      <a:pt x="1083" y="648"/>
                    </a:lnTo>
                    <a:lnTo>
                      <a:pt x="1158" y="591"/>
                    </a:lnTo>
                    <a:lnTo>
                      <a:pt x="1149" y="528"/>
                    </a:lnTo>
                    <a:lnTo>
                      <a:pt x="1125" y="498"/>
                    </a:lnTo>
                    <a:lnTo>
                      <a:pt x="1170" y="465"/>
                    </a:lnTo>
                    <a:lnTo>
                      <a:pt x="1203" y="492"/>
                    </a:lnTo>
                    <a:lnTo>
                      <a:pt x="1248" y="477"/>
                    </a:lnTo>
                    <a:lnTo>
                      <a:pt x="1329" y="414"/>
                    </a:lnTo>
                    <a:lnTo>
                      <a:pt x="1365" y="339"/>
                    </a:lnTo>
                    <a:lnTo>
                      <a:pt x="1338" y="327"/>
                    </a:lnTo>
                    <a:lnTo>
                      <a:pt x="1329" y="288"/>
                    </a:lnTo>
                    <a:lnTo>
                      <a:pt x="1353" y="243"/>
                    </a:lnTo>
                    <a:lnTo>
                      <a:pt x="1308" y="228"/>
                    </a:lnTo>
                    <a:lnTo>
                      <a:pt x="1287" y="249"/>
                    </a:lnTo>
                    <a:lnTo>
                      <a:pt x="1230" y="282"/>
                    </a:lnTo>
                    <a:lnTo>
                      <a:pt x="1155" y="261"/>
                    </a:lnTo>
                    <a:lnTo>
                      <a:pt x="1185" y="237"/>
                    </a:lnTo>
                    <a:lnTo>
                      <a:pt x="1206" y="168"/>
                    </a:lnTo>
                    <a:lnTo>
                      <a:pt x="1251" y="141"/>
                    </a:lnTo>
                    <a:lnTo>
                      <a:pt x="1227" y="84"/>
                    </a:lnTo>
                    <a:lnTo>
                      <a:pt x="1218" y="48"/>
                    </a:lnTo>
                    <a:lnTo>
                      <a:pt x="1059" y="21"/>
                    </a:lnTo>
                    <a:lnTo>
                      <a:pt x="957" y="42"/>
                    </a:lnTo>
                    <a:lnTo>
                      <a:pt x="909" y="90"/>
                    </a:lnTo>
                    <a:lnTo>
                      <a:pt x="858" y="105"/>
                    </a:lnTo>
                    <a:lnTo>
                      <a:pt x="855" y="150"/>
                    </a:lnTo>
                    <a:lnTo>
                      <a:pt x="810" y="141"/>
                    </a:lnTo>
                    <a:lnTo>
                      <a:pt x="801" y="60"/>
                    </a:lnTo>
                    <a:lnTo>
                      <a:pt x="639" y="54"/>
                    </a:lnTo>
                    <a:lnTo>
                      <a:pt x="591" y="39"/>
                    </a:lnTo>
                    <a:lnTo>
                      <a:pt x="498" y="6"/>
                    </a:lnTo>
                    <a:lnTo>
                      <a:pt x="354" y="0"/>
                    </a:lnTo>
                    <a:lnTo>
                      <a:pt x="342" y="54"/>
                    </a:lnTo>
                    <a:lnTo>
                      <a:pt x="351" y="126"/>
                    </a:lnTo>
                    <a:lnTo>
                      <a:pt x="369" y="174"/>
                    </a:lnTo>
                    <a:lnTo>
                      <a:pt x="381" y="222"/>
                    </a:lnTo>
                    <a:lnTo>
                      <a:pt x="378" y="276"/>
                    </a:lnTo>
                    <a:lnTo>
                      <a:pt x="345" y="303"/>
                    </a:lnTo>
                    <a:lnTo>
                      <a:pt x="198" y="303"/>
                    </a:lnTo>
                    <a:lnTo>
                      <a:pt x="180" y="252"/>
                    </a:lnTo>
                    <a:lnTo>
                      <a:pt x="216" y="228"/>
                    </a:lnTo>
                    <a:lnTo>
                      <a:pt x="234" y="192"/>
                    </a:lnTo>
                    <a:lnTo>
                      <a:pt x="204" y="162"/>
                    </a:lnTo>
                    <a:lnTo>
                      <a:pt x="147" y="147"/>
                    </a:lnTo>
                    <a:lnTo>
                      <a:pt x="108" y="114"/>
                    </a:lnTo>
                    <a:lnTo>
                      <a:pt x="63" y="126"/>
                    </a:lnTo>
                    <a:lnTo>
                      <a:pt x="63" y="147"/>
                    </a:lnTo>
                    <a:lnTo>
                      <a:pt x="27" y="180"/>
                    </a:lnTo>
                    <a:lnTo>
                      <a:pt x="27" y="339"/>
                    </a:lnTo>
                    <a:lnTo>
                      <a:pt x="0" y="459"/>
                    </a:lnTo>
                    <a:lnTo>
                      <a:pt x="27" y="552"/>
                    </a:lnTo>
                    <a:lnTo>
                      <a:pt x="57" y="591"/>
                    </a:lnTo>
                    <a:lnTo>
                      <a:pt x="93" y="585"/>
                    </a:lnTo>
                    <a:lnTo>
                      <a:pt x="123" y="573"/>
                    </a:lnTo>
                    <a:lnTo>
                      <a:pt x="123" y="552"/>
                    </a:lnTo>
                    <a:lnTo>
                      <a:pt x="174" y="522"/>
                    </a:lnTo>
                    <a:lnTo>
                      <a:pt x="171" y="468"/>
                    </a:lnTo>
                    <a:lnTo>
                      <a:pt x="162" y="438"/>
                    </a:lnTo>
                    <a:lnTo>
                      <a:pt x="159" y="327"/>
                    </a:lnTo>
                    <a:lnTo>
                      <a:pt x="279" y="324"/>
                    </a:lnTo>
                    <a:lnTo>
                      <a:pt x="360" y="324"/>
                    </a:lnTo>
                    <a:lnTo>
                      <a:pt x="378" y="330"/>
                    </a:lnTo>
                    <a:lnTo>
                      <a:pt x="363" y="372"/>
                    </a:lnTo>
                    <a:lnTo>
                      <a:pt x="342" y="480"/>
                    </a:lnTo>
                    <a:lnTo>
                      <a:pt x="291" y="573"/>
                    </a:lnTo>
                    <a:lnTo>
                      <a:pt x="291" y="705"/>
                    </a:lnTo>
                    <a:lnTo>
                      <a:pt x="303" y="759"/>
                    </a:lnTo>
                    <a:lnTo>
                      <a:pt x="339" y="873"/>
                    </a:lnTo>
                    <a:lnTo>
                      <a:pt x="321" y="1011"/>
                    </a:lnTo>
                    <a:lnTo>
                      <a:pt x="297" y="1062"/>
                    </a:lnTo>
                    <a:lnTo>
                      <a:pt x="342" y="1068"/>
                    </a:lnTo>
                    <a:lnTo>
                      <a:pt x="372" y="1068"/>
                    </a:lnTo>
                    <a:lnTo>
                      <a:pt x="423" y="1107"/>
                    </a:lnTo>
                    <a:lnTo>
                      <a:pt x="531" y="1122"/>
                    </a:lnTo>
                    <a:lnTo>
                      <a:pt x="537" y="1095"/>
                    </a:lnTo>
                    <a:lnTo>
                      <a:pt x="594" y="1080"/>
                    </a:lnTo>
                    <a:lnTo>
                      <a:pt x="651" y="1089"/>
                    </a:lnTo>
                    <a:lnTo>
                      <a:pt x="681" y="1110"/>
                    </a:lnTo>
                    <a:lnTo>
                      <a:pt x="771" y="1080"/>
                    </a:lnTo>
                    <a:lnTo>
                      <a:pt x="870" y="1104"/>
                    </a:lnTo>
                    <a:lnTo>
                      <a:pt x="930" y="1116"/>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86" name="Freeform 120"/>
              <p:cNvSpPr>
                <a:spLocks/>
              </p:cNvSpPr>
              <p:nvPr/>
            </p:nvSpPr>
            <p:spPr bwMode="auto">
              <a:xfrm>
                <a:off x="1029" y="3496"/>
                <a:ext cx="579" cy="256"/>
              </a:xfrm>
              <a:custGeom>
                <a:avLst/>
                <a:gdLst>
                  <a:gd name="T0" fmla="*/ 0 w 1452"/>
                  <a:gd name="T1" fmla="*/ 0 h 786"/>
                  <a:gd name="T2" fmla="*/ 0 w 1452"/>
                  <a:gd name="T3" fmla="*/ 0 h 786"/>
                  <a:gd name="T4" fmla="*/ 0 w 1452"/>
                  <a:gd name="T5" fmla="*/ 0 h 786"/>
                  <a:gd name="T6" fmla="*/ 0 w 1452"/>
                  <a:gd name="T7" fmla="*/ 0 h 786"/>
                  <a:gd name="T8" fmla="*/ 0 w 1452"/>
                  <a:gd name="T9" fmla="*/ 0 h 786"/>
                  <a:gd name="T10" fmla="*/ 0 w 1452"/>
                  <a:gd name="T11" fmla="*/ 0 h 786"/>
                  <a:gd name="T12" fmla="*/ 0 w 1452"/>
                  <a:gd name="T13" fmla="*/ 0 h 786"/>
                  <a:gd name="T14" fmla="*/ 0 w 1452"/>
                  <a:gd name="T15" fmla="*/ 0 h 786"/>
                  <a:gd name="T16" fmla="*/ 0 w 1452"/>
                  <a:gd name="T17" fmla="*/ 0 h 786"/>
                  <a:gd name="T18" fmla="*/ 0 w 1452"/>
                  <a:gd name="T19" fmla="*/ 0 h 786"/>
                  <a:gd name="T20" fmla="*/ 0 w 1452"/>
                  <a:gd name="T21" fmla="*/ 0 h 786"/>
                  <a:gd name="T22" fmla="*/ 0 w 1452"/>
                  <a:gd name="T23" fmla="*/ 0 h 786"/>
                  <a:gd name="T24" fmla="*/ 0 w 1452"/>
                  <a:gd name="T25" fmla="*/ 0 h 786"/>
                  <a:gd name="T26" fmla="*/ 0 w 1452"/>
                  <a:gd name="T27" fmla="*/ 0 h 786"/>
                  <a:gd name="T28" fmla="*/ 0 w 1452"/>
                  <a:gd name="T29" fmla="*/ 0 h 786"/>
                  <a:gd name="T30" fmla="*/ 0 w 1452"/>
                  <a:gd name="T31" fmla="*/ 0 h 786"/>
                  <a:gd name="T32" fmla="*/ 0 w 1452"/>
                  <a:gd name="T33" fmla="*/ 0 h 786"/>
                  <a:gd name="T34" fmla="*/ 0 w 1452"/>
                  <a:gd name="T35" fmla="*/ 0 h 786"/>
                  <a:gd name="T36" fmla="*/ 0 w 1452"/>
                  <a:gd name="T37" fmla="*/ 0 h 786"/>
                  <a:gd name="T38" fmla="*/ 0 w 1452"/>
                  <a:gd name="T39" fmla="*/ 0 h 786"/>
                  <a:gd name="T40" fmla="*/ 0 w 1452"/>
                  <a:gd name="T41" fmla="*/ 0 h 786"/>
                  <a:gd name="T42" fmla="*/ 0 w 1452"/>
                  <a:gd name="T43" fmla="*/ 0 h 786"/>
                  <a:gd name="T44" fmla="*/ 0 w 1452"/>
                  <a:gd name="T45" fmla="*/ 0 h 786"/>
                  <a:gd name="T46" fmla="*/ 0 w 1452"/>
                  <a:gd name="T47" fmla="*/ 0 h 786"/>
                  <a:gd name="T48" fmla="*/ 0 w 1452"/>
                  <a:gd name="T49" fmla="*/ 0 h 786"/>
                  <a:gd name="T50" fmla="*/ 0 w 1452"/>
                  <a:gd name="T51" fmla="*/ 0 h 786"/>
                  <a:gd name="T52" fmla="*/ 0 w 1452"/>
                  <a:gd name="T53" fmla="*/ 0 h 786"/>
                  <a:gd name="T54" fmla="*/ 0 w 1452"/>
                  <a:gd name="T55" fmla="*/ 0 h 786"/>
                  <a:gd name="T56" fmla="*/ 0 w 1452"/>
                  <a:gd name="T57" fmla="*/ 0 h 786"/>
                  <a:gd name="T58" fmla="*/ 0 w 1452"/>
                  <a:gd name="T59" fmla="*/ 0 h 786"/>
                  <a:gd name="T60" fmla="*/ 0 w 1452"/>
                  <a:gd name="T61" fmla="*/ 0 h 786"/>
                  <a:gd name="T62" fmla="*/ 0 w 1452"/>
                  <a:gd name="T63" fmla="*/ 0 h 786"/>
                  <a:gd name="T64" fmla="*/ 0 w 1452"/>
                  <a:gd name="T65" fmla="*/ 0 h 786"/>
                  <a:gd name="T66" fmla="*/ 0 w 1452"/>
                  <a:gd name="T67" fmla="*/ 0 h 786"/>
                  <a:gd name="T68" fmla="*/ 0 w 1452"/>
                  <a:gd name="T69" fmla="*/ 0 h 786"/>
                  <a:gd name="T70" fmla="*/ 0 w 1452"/>
                  <a:gd name="T71" fmla="*/ 0 h 786"/>
                  <a:gd name="T72" fmla="*/ 0 w 1452"/>
                  <a:gd name="T73" fmla="*/ 0 h 786"/>
                  <a:gd name="T74" fmla="*/ 0 w 1452"/>
                  <a:gd name="T75" fmla="*/ 0 h 786"/>
                  <a:gd name="T76" fmla="*/ 0 w 1452"/>
                  <a:gd name="T77" fmla="*/ 0 h 786"/>
                  <a:gd name="T78" fmla="*/ 0 w 1452"/>
                  <a:gd name="T79" fmla="*/ 0 h 786"/>
                  <a:gd name="T80" fmla="*/ 0 w 1452"/>
                  <a:gd name="T81" fmla="*/ 0 h 786"/>
                  <a:gd name="T82" fmla="*/ 0 w 1452"/>
                  <a:gd name="T83" fmla="*/ 0 h 786"/>
                  <a:gd name="T84" fmla="*/ 0 w 1452"/>
                  <a:gd name="T85" fmla="*/ 0 h 786"/>
                  <a:gd name="T86" fmla="*/ 0 w 1452"/>
                  <a:gd name="T87" fmla="*/ 0 h 786"/>
                  <a:gd name="T88" fmla="*/ 0 w 1452"/>
                  <a:gd name="T89" fmla="*/ 0 h 786"/>
                  <a:gd name="T90" fmla="*/ 0 w 1452"/>
                  <a:gd name="T91" fmla="*/ 0 h 786"/>
                  <a:gd name="T92" fmla="*/ 0 w 1452"/>
                  <a:gd name="T93" fmla="*/ 0 h 786"/>
                  <a:gd name="T94" fmla="*/ 0 w 1452"/>
                  <a:gd name="T95" fmla="*/ 0 h 786"/>
                  <a:gd name="T96" fmla="*/ 0 w 1452"/>
                  <a:gd name="T97" fmla="*/ 0 h 7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52"/>
                  <a:gd name="T148" fmla="*/ 0 h 786"/>
                  <a:gd name="T149" fmla="*/ 1452 w 1452"/>
                  <a:gd name="T150" fmla="*/ 786 h 78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52" h="786">
                    <a:moveTo>
                      <a:pt x="1020" y="780"/>
                    </a:moveTo>
                    <a:lnTo>
                      <a:pt x="1098" y="786"/>
                    </a:lnTo>
                    <a:lnTo>
                      <a:pt x="1113" y="765"/>
                    </a:lnTo>
                    <a:lnTo>
                      <a:pt x="1095" y="756"/>
                    </a:lnTo>
                    <a:lnTo>
                      <a:pt x="1080" y="693"/>
                    </a:lnTo>
                    <a:lnTo>
                      <a:pt x="1125" y="660"/>
                    </a:lnTo>
                    <a:lnTo>
                      <a:pt x="1185" y="612"/>
                    </a:lnTo>
                    <a:lnTo>
                      <a:pt x="1236" y="579"/>
                    </a:lnTo>
                    <a:lnTo>
                      <a:pt x="1299" y="582"/>
                    </a:lnTo>
                    <a:lnTo>
                      <a:pt x="1281" y="615"/>
                    </a:lnTo>
                    <a:lnTo>
                      <a:pt x="1296" y="636"/>
                    </a:lnTo>
                    <a:lnTo>
                      <a:pt x="1413" y="567"/>
                    </a:lnTo>
                    <a:lnTo>
                      <a:pt x="1404" y="498"/>
                    </a:lnTo>
                    <a:lnTo>
                      <a:pt x="1380" y="498"/>
                    </a:lnTo>
                    <a:lnTo>
                      <a:pt x="1395" y="462"/>
                    </a:lnTo>
                    <a:lnTo>
                      <a:pt x="1449" y="441"/>
                    </a:lnTo>
                    <a:lnTo>
                      <a:pt x="1452" y="381"/>
                    </a:lnTo>
                    <a:lnTo>
                      <a:pt x="1347" y="285"/>
                    </a:lnTo>
                    <a:lnTo>
                      <a:pt x="1293" y="306"/>
                    </a:lnTo>
                    <a:lnTo>
                      <a:pt x="1269" y="339"/>
                    </a:lnTo>
                    <a:lnTo>
                      <a:pt x="1215" y="369"/>
                    </a:lnTo>
                    <a:lnTo>
                      <a:pt x="1227" y="324"/>
                    </a:lnTo>
                    <a:lnTo>
                      <a:pt x="1284" y="282"/>
                    </a:lnTo>
                    <a:lnTo>
                      <a:pt x="1329" y="267"/>
                    </a:lnTo>
                    <a:lnTo>
                      <a:pt x="1377" y="264"/>
                    </a:lnTo>
                    <a:lnTo>
                      <a:pt x="1323" y="189"/>
                    </a:lnTo>
                    <a:lnTo>
                      <a:pt x="1347" y="114"/>
                    </a:lnTo>
                    <a:lnTo>
                      <a:pt x="1296" y="63"/>
                    </a:lnTo>
                    <a:lnTo>
                      <a:pt x="1239" y="78"/>
                    </a:lnTo>
                    <a:lnTo>
                      <a:pt x="1140" y="195"/>
                    </a:lnTo>
                    <a:lnTo>
                      <a:pt x="1068" y="198"/>
                    </a:lnTo>
                    <a:lnTo>
                      <a:pt x="1023" y="234"/>
                    </a:lnTo>
                    <a:lnTo>
                      <a:pt x="945" y="195"/>
                    </a:lnTo>
                    <a:lnTo>
                      <a:pt x="942" y="165"/>
                    </a:lnTo>
                    <a:lnTo>
                      <a:pt x="933" y="129"/>
                    </a:lnTo>
                    <a:lnTo>
                      <a:pt x="879" y="117"/>
                    </a:lnTo>
                    <a:lnTo>
                      <a:pt x="831" y="141"/>
                    </a:lnTo>
                    <a:lnTo>
                      <a:pt x="822" y="201"/>
                    </a:lnTo>
                    <a:lnTo>
                      <a:pt x="786" y="195"/>
                    </a:lnTo>
                    <a:lnTo>
                      <a:pt x="783" y="147"/>
                    </a:lnTo>
                    <a:lnTo>
                      <a:pt x="714" y="75"/>
                    </a:lnTo>
                    <a:lnTo>
                      <a:pt x="681" y="0"/>
                    </a:lnTo>
                    <a:lnTo>
                      <a:pt x="618" y="9"/>
                    </a:lnTo>
                    <a:lnTo>
                      <a:pt x="588" y="42"/>
                    </a:lnTo>
                    <a:lnTo>
                      <a:pt x="570" y="129"/>
                    </a:lnTo>
                    <a:lnTo>
                      <a:pt x="543" y="135"/>
                    </a:lnTo>
                    <a:lnTo>
                      <a:pt x="537" y="105"/>
                    </a:lnTo>
                    <a:lnTo>
                      <a:pt x="516" y="108"/>
                    </a:lnTo>
                    <a:lnTo>
                      <a:pt x="489" y="222"/>
                    </a:lnTo>
                    <a:lnTo>
                      <a:pt x="516" y="237"/>
                    </a:lnTo>
                    <a:lnTo>
                      <a:pt x="504" y="273"/>
                    </a:lnTo>
                    <a:lnTo>
                      <a:pt x="447" y="285"/>
                    </a:lnTo>
                    <a:lnTo>
                      <a:pt x="405" y="261"/>
                    </a:lnTo>
                    <a:lnTo>
                      <a:pt x="375" y="252"/>
                    </a:lnTo>
                    <a:lnTo>
                      <a:pt x="384" y="192"/>
                    </a:lnTo>
                    <a:lnTo>
                      <a:pt x="363" y="129"/>
                    </a:lnTo>
                    <a:lnTo>
                      <a:pt x="339" y="132"/>
                    </a:lnTo>
                    <a:lnTo>
                      <a:pt x="318" y="195"/>
                    </a:lnTo>
                    <a:lnTo>
                      <a:pt x="285" y="195"/>
                    </a:lnTo>
                    <a:lnTo>
                      <a:pt x="276" y="168"/>
                    </a:lnTo>
                    <a:lnTo>
                      <a:pt x="225" y="162"/>
                    </a:lnTo>
                    <a:lnTo>
                      <a:pt x="213" y="141"/>
                    </a:lnTo>
                    <a:lnTo>
                      <a:pt x="117" y="138"/>
                    </a:lnTo>
                    <a:lnTo>
                      <a:pt x="117" y="168"/>
                    </a:lnTo>
                    <a:lnTo>
                      <a:pt x="75" y="198"/>
                    </a:lnTo>
                    <a:lnTo>
                      <a:pt x="0" y="171"/>
                    </a:lnTo>
                    <a:lnTo>
                      <a:pt x="3" y="195"/>
                    </a:lnTo>
                    <a:lnTo>
                      <a:pt x="51" y="219"/>
                    </a:lnTo>
                    <a:lnTo>
                      <a:pt x="45" y="249"/>
                    </a:lnTo>
                    <a:lnTo>
                      <a:pt x="18" y="267"/>
                    </a:lnTo>
                    <a:lnTo>
                      <a:pt x="36" y="306"/>
                    </a:lnTo>
                    <a:lnTo>
                      <a:pt x="72" y="321"/>
                    </a:lnTo>
                    <a:lnTo>
                      <a:pt x="75" y="354"/>
                    </a:lnTo>
                    <a:lnTo>
                      <a:pt x="54" y="456"/>
                    </a:lnTo>
                    <a:lnTo>
                      <a:pt x="60" y="543"/>
                    </a:lnTo>
                    <a:lnTo>
                      <a:pt x="105" y="555"/>
                    </a:lnTo>
                    <a:lnTo>
                      <a:pt x="108" y="510"/>
                    </a:lnTo>
                    <a:lnTo>
                      <a:pt x="159" y="495"/>
                    </a:lnTo>
                    <a:lnTo>
                      <a:pt x="204" y="444"/>
                    </a:lnTo>
                    <a:lnTo>
                      <a:pt x="318" y="423"/>
                    </a:lnTo>
                    <a:lnTo>
                      <a:pt x="465" y="453"/>
                    </a:lnTo>
                    <a:lnTo>
                      <a:pt x="498" y="546"/>
                    </a:lnTo>
                    <a:lnTo>
                      <a:pt x="453" y="570"/>
                    </a:lnTo>
                    <a:lnTo>
                      <a:pt x="429" y="645"/>
                    </a:lnTo>
                    <a:lnTo>
                      <a:pt x="405" y="663"/>
                    </a:lnTo>
                    <a:lnTo>
                      <a:pt x="480" y="687"/>
                    </a:lnTo>
                    <a:lnTo>
                      <a:pt x="534" y="654"/>
                    </a:lnTo>
                    <a:lnTo>
                      <a:pt x="549" y="630"/>
                    </a:lnTo>
                    <a:lnTo>
                      <a:pt x="603" y="651"/>
                    </a:lnTo>
                    <a:lnTo>
                      <a:pt x="582" y="693"/>
                    </a:lnTo>
                    <a:lnTo>
                      <a:pt x="588" y="738"/>
                    </a:lnTo>
                    <a:lnTo>
                      <a:pt x="651" y="756"/>
                    </a:lnTo>
                    <a:lnTo>
                      <a:pt x="678" y="738"/>
                    </a:lnTo>
                    <a:lnTo>
                      <a:pt x="675" y="657"/>
                    </a:lnTo>
                    <a:lnTo>
                      <a:pt x="714" y="657"/>
                    </a:lnTo>
                    <a:lnTo>
                      <a:pt x="798" y="708"/>
                    </a:lnTo>
                    <a:lnTo>
                      <a:pt x="921" y="708"/>
                    </a:lnTo>
                    <a:lnTo>
                      <a:pt x="981" y="738"/>
                    </a:lnTo>
                    <a:lnTo>
                      <a:pt x="1020" y="780"/>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87" name="Freeform 121"/>
              <p:cNvSpPr>
                <a:spLocks/>
              </p:cNvSpPr>
              <p:nvPr/>
            </p:nvSpPr>
            <p:spPr bwMode="auto">
              <a:xfrm>
                <a:off x="1098" y="3709"/>
                <a:ext cx="446" cy="378"/>
              </a:xfrm>
              <a:custGeom>
                <a:avLst/>
                <a:gdLst>
                  <a:gd name="T0" fmla="*/ 0 w 1119"/>
                  <a:gd name="T1" fmla="*/ 0 h 1161"/>
                  <a:gd name="T2" fmla="*/ 0 w 1119"/>
                  <a:gd name="T3" fmla="*/ 0 h 1161"/>
                  <a:gd name="T4" fmla="*/ 0 w 1119"/>
                  <a:gd name="T5" fmla="*/ 0 h 1161"/>
                  <a:gd name="T6" fmla="*/ 0 w 1119"/>
                  <a:gd name="T7" fmla="*/ 0 h 1161"/>
                  <a:gd name="T8" fmla="*/ 0 w 1119"/>
                  <a:gd name="T9" fmla="*/ 0 h 1161"/>
                  <a:gd name="T10" fmla="*/ 0 w 1119"/>
                  <a:gd name="T11" fmla="*/ 0 h 1161"/>
                  <a:gd name="T12" fmla="*/ 0 w 1119"/>
                  <a:gd name="T13" fmla="*/ 0 h 1161"/>
                  <a:gd name="T14" fmla="*/ 0 w 1119"/>
                  <a:gd name="T15" fmla="*/ 0 h 1161"/>
                  <a:gd name="T16" fmla="*/ 0 w 1119"/>
                  <a:gd name="T17" fmla="*/ 0 h 1161"/>
                  <a:gd name="T18" fmla="*/ 0 w 1119"/>
                  <a:gd name="T19" fmla="*/ 0 h 1161"/>
                  <a:gd name="T20" fmla="*/ 0 w 1119"/>
                  <a:gd name="T21" fmla="*/ 0 h 1161"/>
                  <a:gd name="T22" fmla="*/ 0 w 1119"/>
                  <a:gd name="T23" fmla="*/ 0 h 1161"/>
                  <a:gd name="T24" fmla="*/ 0 w 1119"/>
                  <a:gd name="T25" fmla="*/ 0 h 1161"/>
                  <a:gd name="T26" fmla="*/ 0 w 1119"/>
                  <a:gd name="T27" fmla="*/ 0 h 1161"/>
                  <a:gd name="T28" fmla="*/ 0 w 1119"/>
                  <a:gd name="T29" fmla="*/ 0 h 1161"/>
                  <a:gd name="T30" fmla="*/ 0 w 1119"/>
                  <a:gd name="T31" fmla="*/ 0 h 1161"/>
                  <a:gd name="T32" fmla="*/ 0 w 1119"/>
                  <a:gd name="T33" fmla="*/ 0 h 1161"/>
                  <a:gd name="T34" fmla="*/ 0 w 1119"/>
                  <a:gd name="T35" fmla="*/ 0 h 1161"/>
                  <a:gd name="T36" fmla="*/ 0 w 1119"/>
                  <a:gd name="T37" fmla="*/ 0 h 1161"/>
                  <a:gd name="T38" fmla="*/ 0 w 1119"/>
                  <a:gd name="T39" fmla="*/ 0 h 1161"/>
                  <a:gd name="T40" fmla="*/ 0 w 1119"/>
                  <a:gd name="T41" fmla="*/ 0 h 1161"/>
                  <a:gd name="T42" fmla="*/ 0 w 1119"/>
                  <a:gd name="T43" fmla="*/ 0 h 1161"/>
                  <a:gd name="T44" fmla="*/ 0 w 1119"/>
                  <a:gd name="T45" fmla="*/ 0 h 1161"/>
                  <a:gd name="T46" fmla="*/ 0 w 1119"/>
                  <a:gd name="T47" fmla="*/ 0 h 1161"/>
                  <a:gd name="T48" fmla="*/ 0 w 1119"/>
                  <a:gd name="T49" fmla="*/ 0 h 1161"/>
                  <a:gd name="T50" fmla="*/ 0 w 1119"/>
                  <a:gd name="T51" fmla="*/ 0 h 1161"/>
                  <a:gd name="T52" fmla="*/ 0 w 1119"/>
                  <a:gd name="T53" fmla="*/ 0 h 1161"/>
                  <a:gd name="T54" fmla="*/ 0 w 1119"/>
                  <a:gd name="T55" fmla="*/ 0 h 1161"/>
                  <a:gd name="T56" fmla="*/ 0 w 1119"/>
                  <a:gd name="T57" fmla="*/ 0 h 1161"/>
                  <a:gd name="T58" fmla="*/ 0 w 1119"/>
                  <a:gd name="T59" fmla="*/ 0 h 1161"/>
                  <a:gd name="T60" fmla="*/ 0 w 1119"/>
                  <a:gd name="T61" fmla="*/ 0 h 1161"/>
                  <a:gd name="T62" fmla="*/ 0 w 1119"/>
                  <a:gd name="T63" fmla="*/ 0 h 1161"/>
                  <a:gd name="T64" fmla="*/ 0 w 1119"/>
                  <a:gd name="T65" fmla="*/ 0 h 1161"/>
                  <a:gd name="T66" fmla="*/ 0 w 1119"/>
                  <a:gd name="T67" fmla="*/ 0 h 1161"/>
                  <a:gd name="T68" fmla="*/ 0 w 1119"/>
                  <a:gd name="T69" fmla="*/ 0 h 1161"/>
                  <a:gd name="T70" fmla="*/ 0 w 1119"/>
                  <a:gd name="T71" fmla="*/ 0 h 1161"/>
                  <a:gd name="T72" fmla="*/ 0 w 1119"/>
                  <a:gd name="T73" fmla="*/ 0 h 1161"/>
                  <a:gd name="T74" fmla="*/ 0 w 1119"/>
                  <a:gd name="T75" fmla="*/ 0 h 1161"/>
                  <a:gd name="T76" fmla="*/ 0 w 1119"/>
                  <a:gd name="T77" fmla="*/ 0 h 1161"/>
                  <a:gd name="T78" fmla="*/ 0 w 1119"/>
                  <a:gd name="T79" fmla="*/ 0 h 1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19"/>
                  <a:gd name="T121" fmla="*/ 0 h 1161"/>
                  <a:gd name="T122" fmla="*/ 1119 w 1119"/>
                  <a:gd name="T123" fmla="*/ 1161 h 11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19" h="1161">
                    <a:moveTo>
                      <a:pt x="912" y="957"/>
                    </a:moveTo>
                    <a:lnTo>
                      <a:pt x="891" y="900"/>
                    </a:lnTo>
                    <a:lnTo>
                      <a:pt x="888" y="849"/>
                    </a:lnTo>
                    <a:lnTo>
                      <a:pt x="918" y="855"/>
                    </a:lnTo>
                    <a:lnTo>
                      <a:pt x="918" y="816"/>
                    </a:lnTo>
                    <a:lnTo>
                      <a:pt x="828" y="807"/>
                    </a:lnTo>
                    <a:lnTo>
                      <a:pt x="828" y="738"/>
                    </a:lnTo>
                    <a:lnTo>
                      <a:pt x="855" y="651"/>
                    </a:lnTo>
                    <a:lnTo>
                      <a:pt x="885" y="645"/>
                    </a:lnTo>
                    <a:lnTo>
                      <a:pt x="936" y="681"/>
                    </a:lnTo>
                    <a:lnTo>
                      <a:pt x="981" y="687"/>
                    </a:lnTo>
                    <a:lnTo>
                      <a:pt x="1008" y="666"/>
                    </a:lnTo>
                    <a:lnTo>
                      <a:pt x="1032" y="609"/>
                    </a:lnTo>
                    <a:lnTo>
                      <a:pt x="1050" y="612"/>
                    </a:lnTo>
                    <a:lnTo>
                      <a:pt x="1089" y="528"/>
                    </a:lnTo>
                    <a:lnTo>
                      <a:pt x="1119" y="498"/>
                    </a:lnTo>
                    <a:lnTo>
                      <a:pt x="1107" y="462"/>
                    </a:lnTo>
                    <a:lnTo>
                      <a:pt x="1089" y="414"/>
                    </a:lnTo>
                    <a:lnTo>
                      <a:pt x="1035" y="390"/>
                    </a:lnTo>
                    <a:lnTo>
                      <a:pt x="1002" y="414"/>
                    </a:lnTo>
                    <a:lnTo>
                      <a:pt x="915" y="465"/>
                    </a:lnTo>
                    <a:lnTo>
                      <a:pt x="852" y="480"/>
                    </a:lnTo>
                    <a:lnTo>
                      <a:pt x="786" y="465"/>
                    </a:lnTo>
                    <a:lnTo>
                      <a:pt x="756" y="429"/>
                    </a:lnTo>
                    <a:lnTo>
                      <a:pt x="789" y="405"/>
                    </a:lnTo>
                    <a:lnTo>
                      <a:pt x="915" y="375"/>
                    </a:lnTo>
                    <a:lnTo>
                      <a:pt x="978" y="303"/>
                    </a:lnTo>
                    <a:lnTo>
                      <a:pt x="999" y="303"/>
                    </a:lnTo>
                    <a:lnTo>
                      <a:pt x="1011" y="255"/>
                    </a:lnTo>
                    <a:lnTo>
                      <a:pt x="975" y="243"/>
                    </a:lnTo>
                    <a:lnTo>
                      <a:pt x="954" y="201"/>
                    </a:lnTo>
                    <a:lnTo>
                      <a:pt x="894" y="174"/>
                    </a:lnTo>
                    <a:lnTo>
                      <a:pt x="852" y="162"/>
                    </a:lnTo>
                    <a:lnTo>
                      <a:pt x="849" y="126"/>
                    </a:lnTo>
                    <a:lnTo>
                      <a:pt x="804" y="78"/>
                    </a:lnTo>
                    <a:lnTo>
                      <a:pt x="744" y="54"/>
                    </a:lnTo>
                    <a:lnTo>
                      <a:pt x="612" y="51"/>
                    </a:lnTo>
                    <a:lnTo>
                      <a:pt x="543" y="6"/>
                    </a:lnTo>
                    <a:lnTo>
                      <a:pt x="507" y="0"/>
                    </a:lnTo>
                    <a:lnTo>
                      <a:pt x="501" y="75"/>
                    </a:lnTo>
                    <a:lnTo>
                      <a:pt x="483" y="102"/>
                    </a:lnTo>
                    <a:lnTo>
                      <a:pt x="432" y="93"/>
                    </a:lnTo>
                    <a:lnTo>
                      <a:pt x="405" y="168"/>
                    </a:lnTo>
                    <a:lnTo>
                      <a:pt x="318" y="225"/>
                    </a:lnTo>
                    <a:lnTo>
                      <a:pt x="279" y="243"/>
                    </a:lnTo>
                    <a:lnTo>
                      <a:pt x="246" y="219"/>
                    </a:lnTo>
                    <a:lnTo>
                      <a:pt x="201" y="249"/>
                    </a:lnTo>
                    <a:lnTo>
                      <a:pt x="222" y="276"/>
                    </a:lnTo>
                    <a:lnTo>
                      <a:pt x="231" y="342"/>
                    </a:lnTo>
                    <a:lnTo>
                      <a:pt x="156" y="402"/>
                    </a:lnTo>
                    <a:lnTo>
                      <a:pt x="135" y="402"/>
                    </a:lnTo>
                    <a:lnTo>
                      <a:pt x="129" y="447"/>
                    </a:lnTo>
                    <a:lnTo>
                      <a:pt x="111" y="471"/>
                    </a:lnTo>
                    <a:lnTo>
                      <a:pt x="135" y="567"/>
                    </a:lnTo>
                    <a:lnTo>
                      <a:pt x="105" y="621"/>
                    </a:lnTo>
                    <a:lnTo>
                      <a:pt x="48" y="639"/>
                    </a:lnTo>
                    <a:lnTo>
                      <a:pt x="0" y="717"/>
                    </a:lnTo>
                    <a:lnTo>
                      <a:pt x="12" y="759"/>
                    </a:lnTo>
                    <a:lnTo>
                      <a:pt x="39" y="768"/>
                    </a:lnTo>
                    <a:lnTo>
                      <a:pt x="6" y="867"/>
                    </a:lnTo>
                    <a:lnTo>
                      <a:pt x="69" y="921"/>
                    </a:lnTo>
                    <a:lnTo>
                      <a:pt x="138" y="942"/>
                    </a:lnTo>
                    <a:lnTo>
                      <a:pt x="186" y="930"/>
                    </a:lnTo>
                    <a:lnTo>
                      <a:pt x="249" y="945"/>
                    </a:lnTo>
                    <a:lnTo>
                      <a:pt x="300" y="939"/>
                    </a:lnTo>
                    <a:lnTo>
                      <a:pt x="441" y="1008"/>
                    </a:lnTo>
                    <a:lnTo>
                      <a:pt x="426" y="1050"/>
                    </a:lnTo>
                    <a:lnTo>
                      <a:pt x="438" y="1113"/>
                    </a:lnTo>
                    <a:lnTo>
                      <a:pt x="471" y="1125"/>
                    </a:lnTo>
                    <a:lnTo>
                      <a:pt x="495" y="1113"/>
                    </a:lnTo>
                    <a:lnTo>
                      <a:pt x="522" y="1152"/>
                    </a:lnTo>
                    <a:lnTo>
                      <a:pt x="543" y="1137"/>
                    </a:lnTo>
                    <a:lnTo>
                      <a:pt x="600" y="1161"/>
                    </a:lnTo>
                    <a:lnTo>
                      <a:pt x="660" y="1107"/>
                    </a:lnTo>
                    <a:lnTo>
                      <a:pt x="675" y="1041"/>
                    </a:lnTo>
                    <a:lnTo>
                      <a:pt x="720" y="1023"/>
                    </a:lnTo>
                    <a:lnTo>
                      <a:pt x="780" y="1062"/>
                    </a:lnTo>
                    <a:lnTo>
                      <a:pt x="846" y="1029"/>
                    </a:lnTo>
                    <a:lnTo>
                      <a:pt x="861" y="990"/>
                    </a:lnTo>
                    <a:lnTo>
                      <a:pt x="912" y="957"/>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9788" name="Freeform 122"/>
              <p:cNvSpPr>
                <a:spLocks/>
              </p:cNvSpPr>
              <p:nvPr/>
            </p:nvSpPr>
            <p:spPr bwMode="auto">
              <a:xfrm>
                <a:off x="1427" y="3798"/>
                <a:ext cx="430" cy="250"/>
              </a:xfrm>
              <a:custGeom>
                <a:avLst/>
                <a:gdLst>
                  <a:gd name="T0" fmla="*/ 0 w 1077"/>
                  <a:gd name="T1" fmla="*/ 0 h 768"/>
                  <a:gd name="T2" fmla="*/ 0 w 1077"/>
                  <a:gd name="T3" fmla="*/ 0 h 768"/>
                  <a:gd name="T4" fmla="*/ 0 w 1077"/>
                  <a:gd name="T5" fmla="*/ 0 h 768"/>
                  <a:gd name="T6" fmla="*/ 0 w 1077"/>
                  <a:gd name="T7" fmla="*/ 0 h 768"/>
                  <a:gd name="T8" fmla="*/ 0 w 1077"/>
                  <a:gd name="T9" fmla="*/ 0 h 768"/>
                  <a:gd name="T10" fmla="*/ 0 w 1077"/>
                  <a:gd name="T11" fmla="*/ 0 h 768"/>
                  <a:gd name="T12" fmla="*/ 0 w 1077"/>
                  <a:gd name="T13" fmla="*/ 0 h 768"/>
                  <a:gd name="T14" fmla="*/ 0 w 1077"/>
                  <a:gd name="T15" fmla="*/ 0 h 768"/>
                  <a:gd name="T16" fmla="*/ 0 w 1077"/>
                  <a:gd name="T17" fmla="*/ 0 h 768"/>
                  <a:gd name="T18" fmla="*/ 0 w 1077"/>
                  <a:gd name="T19" fmla="*/ 0 h 768"/>
                  <a:gd name="T20" fmla="*/ 0 w 1077"/>
                  <a:gd name="T21" fmla="*/ 0 h 768"/>
                  <a:gd name="T22" fmla="*/ 0 w 1077"/>
                  <a:gd name="T23" fmla="*/ 0 h 768"/>
                  <a:gd name="T24" fmla="*/ 0 w 1077"/>
                  <a:gd name="T25" fmla="*/ 0 h 768"/>
                  <a:gd name="T26" fmla="*/ 0 w 1077"/>
                  <a:gd name="T27" fmla="*/ 0 h 768"/>
                  <a:gd name="T28" fmla="*/ 0 w 1077"/>
                  <a:gd name="T29" fmla="*/ 0 h 768"/>
                  <a:gd name="T30" fmla="*/ 0 w 1077"/>
                  <a:gd name="T31" fmla="*/ 0 h 768"/>
                  <a:gd name="T32" fmla="*/ 0 w 1077"/>
                  <a:gd name="T33" fmla="*/ 0 h 768"/>
                  <a:gd name="T34" fmla="*/ 0 w 1077"/>
                  <a:gd name="T35" fmla="*/ 0 h 768"/>
                  <a:gd name="T36" fmla="*/ 0 w 1077"/>
                  <a:gd name="T37" fmla="*/ 0 h 768"/>
                  <a:gd name="T38" fmla="*/ 0 w 1077"/>
                  <a:gd name="T39" fmla="*/ 0 h 768"/>
                  <a:gd name="T40" fmla="*/ 0 w 1077"/>
                  <a:gd name="T41" fmla="*/ 0 h 768"/>
                  <a:gd name="T42" fmla="*/ 0 w 1077"/>
                  <a:gd name="T43" fmla="*/ 0 h 768"/>
                  <a:gd name="T44" fmla="*/ 0 w 1077"/>
                  <a:gd name="T45" fmla="*/ 0 h 768"/>
                  <a:gd name="T46" fmla="*/ 0 w 1077"/>
                  <a:gd name="T47" fmla="*/ 0 h 768"/>
                  <a:gd name="T48" fmla="*/ 0 w 1077"/>
                  <a:gd name="T49" fmla="*/ 0 h 768"/>
                  <a:gd name="T50" fmla="*/ 0 w 1077"/>
                  <a:gd name="T51" fmla="*/ 0 h 768"/>
                  <a:gd name="T52" fmla="*/ 0 w 1077"/>
                  <a:gd name="T53" fmla="*/ 0 h 768"/>
                  <a:gd name="T54" fmla="*/ 0 w 1077"/>
                  <a:gd name="T55" fmla="*/ 0 h 768"/>
                  <a:gd name="T56" fmla="*/ 0 w 1077"/>
                  <a:gd name="T57" fmla="*/ 0 h 768"/>
                  <a:gd name="T58" fmla="*/ 0 w 1077"/>
                  <a:gd name="T59" fmla="*/ 0 h 768"/>
                  <a:gd name="T60" fmla="*/ 0 w 1077"/>
                  <a:gd name="T61" fmla="*/ 0 h 768"/>
                  <a:gd name="T62" fmla="*/ 0 w 1077"/>
                  <a:gd name="T63" fmla="*/ 0 h 768"/>
                  <a:gd name="T64" fmla="*/ 0 w 1077"/>
                  <a:gd name="T65" fmla="*/ 0 h 768"/>
                  <a:gd name="T66" fmla="*/ 0 w 1077"/>
                  <a:gd name="T67" fmla="*/ 0 h 768"/>
                  <a:gd name="T68" fmla="*/ 0 w 1077"/>
                  <a:gd name="T69" fmla="*/ 0 h 768"/>
                  <a:gd name="T70" fmla="*/ 0 w 1077"/>
                  <a:gd name="T71" fmla="*/ 0 h 768"/>
                  <a:gd name="T72" fmla="*/ 0 w 1077"/>
                  <a:gd name="T73" fmla="*/ 0 h 768"/>
                  <a:gd name="T74" fmla="*/ 0 w 1077"/>
                  <a:gd name="T75" fmla="*/ 0 h 768"/>
                  <a:gd name="T76" fmla="*/ 0 w 1077"/>
                  <a:gd name="T77" fmla="*/ 0 h 768"/>
                  <a:gd name="T78" fmla="*/ 0 w 1077"/>
                  <a:gd name="T79" fmla="*/ 0 h 768"/>
                  <a:gd name="T80" fmla="*/ 0 w 1077"/>
                  <a:gd name="T81" fmla="*/ 0 h 768"/>
                  <a:gd name="T82" fmla="*/ 0 w 1077"/>
                  <a:gd name="T83" fmla="*/ 0 h 768"/>
                  <a:gd name="T84" fmla="*/ 0 w 1077"/>
                  <a:gd name="T85" fmla="*/ 0 h 768"/>
                  <a:gd name="T86" fmla="*/ 0 w 1077"/>
                  <a:gd name="T87" fmla="*/ 0 h 768"/>
                  <a:gd name="T88" fmla="*/ 0 w 1077"/>
                  <a:gd name="T89" fmla="*/ 0 h 768"/>
                  <a:gd name="T90" fmla="*/ 0 w 1077"/>
                  <a:gd name="T91" fmla="*/ 0 h 768"/>
                  <a:gd name="T92" fmla="*/ 0 w 1077"/>
                  <a:gd name="T93" fmla="*/ 0 h 768"/>
                  <a:gd name="T94" fmla="*/ 0 w 1077"/>
                  <a:gd name="T95" fmla="*/ 0 h 768"/>
                  <a:gd name="T96" fmla="*/ 0 w 1077"/>
                  <a:gd name="T97" fmla="*/ 0 h 768"/>
                  <a:gd name="T98" fmla="*/ 0 w 1077"/>
                  <a:gd name="T99" fmla="*/ 0 h 768"/>
                  <a:gd name="T100" fmla="*/ 0 w 1077"/>
                  <a:gd name="T101" fmla="*/ 0 h 768"/>
                  <a:gd name="T102" fmla="*/ 0 w 1077"/>
                  <a:gd name="T103" fmla="*/ 0 h 768"/>
                  <a:gd name="T104" fmla="*/ 0 w 1077"/>
                  <a:gd name="T105" fmla="*/ 0 h 768"/>
                  <a:gd name="T106" fmla="*/ 0 w 1077"/>
                  <a:gd name="T107" fmla="*/ 0 h 768"/>
                  <a:gd name="T108" fmla="*/ 0 w 1077"/>
                  <a:gd name="T109" fmla="*/ 0 h 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7"/>
                  <a:gd name="T166" fmla="*/ 0 h 768"/>
                  <a:gd name="T167" fmla="*/ 1077 w 1077"/>
                  <a:gd name="T168" fmla="*/ 768 h 7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7" h="768">
                    <a:moveTo>
                      <a:pt x="1068" y="639"/>
                    </a:moveTo>
                    <a:lnTo>
                      <a:pt x="1077" y="579"/>
                    </a:lnTo>
                    <a:lnTo>
                      <a:pt x="1032" y="507"/>
                    </a:lnTo>
                    <a:lnTo>
                      <a:pt x="1017" y="441"/>
                    </a:lnTo>
                    <a:lnTo>
                      <a:pt x="951" y="303"/>
                    </a:lnTo>
                    <a:lnTo>
                      <a:pt x="897" y="243"/>
                    </a:lnTo>
                    <a:lnTo>
                      <a:pt x="894" y="216"/>
                    </a:lnTo>
                    <a:lnTo>
                      <a:pt x="861" y="201"/>
                    </a:lnTo>
                    <a:lnTo>
                      <a:pt x="840" y="192"/>
                    </a:lnTo>
                    <a:lnTo>
                      <a:pt x="768" y="189"/>
                    </a:lnTo>
                    <a:lnTo>
                      <a:pt x="702" y="108"/>
                    </a:lnTo>
                    <a:lnTo>
                      <a:pt x="663" y="69"/>
                    </a:lnTo>
                    <a:lnTo>
                      <a:pt x="537" y="0"/>
                    </a:lnTo>
                    <a:lnTo>
                      <a:pt x="435" y="6"/>
                    </a:lnTo>
                    <a:lnTo>
                      <a:pt x="366" y="33"/>
                    </a:lnTo>
                    <a:lnTo>
                      <a:pt x="306" y="99"/>
                    </a:lnTo>
                    <a:lnTo>
                      <a:pt x="309" y="120"/>
                    </a:lnTo>
                    <a:lnTo>
                      <a:pt x="330" y="135"/>
                    </a:lnTo>
                    <a:lnTo>
                      <a:pt x="453" y="126"/>
                    </a:lnTo>
                    <a:lnTo>
                      <a:pt x="429" y="150"/>
                    </a:lnTo>
                    <a:lnTo>
                      <a:pt x="357" y="156"/>
                    </a:lnTo>
                    <a:lnTo>
                      <a:pt x="366" y="204"/>
                    </a:lnTo>
                    <a:lnTo>
                      <a:pt x="423" y="240"/>
                    </a:lnTo>
                    <a:lnTo>
                      <a:pt x="507" y="231"/>
                    </a:lnTo>
                    <a:lnTo>
                      <a:pt x="549" y="213"/>
                    </a:lnTo>
                    <a:lnTo>
                      <a:pt x="591" y="222"/>
                    </a:lnTo>
                    <a:lnTo>
                      <a:pt x="573" y="249"/>
                    </a:lnTo>
                    <a:lnTo>
                      <a:pt x="585" y="267"/>
                    </a:lnTo>
                    <a:lnTo>
                      <a:pt x="573" y="294"/>
                    </a:lnTo>
                    <a:lnTo>
                      <a:pt x="678" y="339"/>
                    </a:lnTo>
                    <a:lnTo>
                      <a:pt x="663" y="375"/>
                    </a:lnTo>
                    <a:lnTo>
                      <a:pt x="684" y="375"/>
                    </a:lnTo>
                    <a:lnTo>
                      <a:pt x="666" y="405"/>
                    </a:lnTo>
                    <a:lnTo>
                      <a:pt x="696" y="426"/>
                    </a:lnTo>
                    <a:lnTo>
                      <a:pt x="669" y="453"/>
                    </a:lnTo>
                    <a:lnTo>
                      <a:pt x="627" y="387"/>
                    </a:lnTo>
                    <a:lnTo>
                      <a:pt x="579" y="342"/>
                    </a:lnTo>
                    <a:lnTo>
                      <a:pt x="543" y="333"/>
                    </a:lnTo>
                    <a:lnTo>
                      <a:pt x="534" y="390"/>
                    </a:lnTo>
                    <a:lnTo>
                      <a:pt x="543" y="438"/>
                    </a:lnTo>
                    <a:lnTo>
                      <a:pt x="516" y="438"/>
                    </a:lnTo>
                    <a:lnTo>
                      <a:pt x="507" y="378"/>
                    </a:lnTo>
                    <a:lnTo>
                      <a:pt x="498" y="354"/>
                    </a:lnTo>
                    <a:lnTo>
                      <a:pt x="510" y="321"/>
                    </a:lnTo>
                    <a:lnTo>
                      <a:pt x="501" y="291"/>
                    </a:lnTo>
                    <a:lnTo>
                      <a:pt x="426" y="297"/>
                    </a:lnTo>
                    <a:lnTo>
                      <a:pt x="378" y="255"/>
                    </a:lnTo>
                    <a:lnTo>
                      <a:pt x="294" y="228"/>
                    </a:lnTo>
                    <a:lnTo>
                      <a:pt x="273" y="255"/>
                    </a:lnTo>
                    <a:lnTo>
                      <a:pt x="213" y="336"/>
                    </a:lnTo>
                    <a:lnTo>
                      <a:pt x="189" y="390"/>
                    </a:lnTo>
                    <a:lnTo>
                      <a:pt x="156" y="414"/>
                    </a:lnTo>
                    <a:lnTo>
                      <a:pt x="111" y="414"/>
                    </a:lnTo>
                    <a:lnTo>
                      <a:pt x="60" y="372"/>
                    </a:lnTo>
                    <a:lnTo>
                      <a:pt x="36" y="372"/>
                    </a:lnTo>
                    <a:lnTo>
                      <a:pt x="0" y="474"/>
                    </a:lnTo>
                    <a:lnTo>
                      <a:pt x="6" y="534"/>
                    </a:lnTo>
                    <a:lnTo>
                      <a:pt x="90" y="537"/>
                    </a:lnTo>
                    <a:lnTo>
                      <a:pt x="96" y="579"/>
                    </a:lnTo>
                    <a:lnTo>
                      <a:pt x="72" y="579"/>
                    </a:lnTo>
                    <a:lnTo>
                      <a:pt x="69" y="621"/>
                    </a:lnTo>
                    <a:lnTo>
                      <a:pt x="90" y="681"/>
                    </a:lnTo>
                    <a:lnTo>
                      <a:pt x="120" y="639"/>
                    </a:lnTo>
                    <a:lnTo>
                      <a:pt x="156" y="618"/>
                    </a:lnTo>
                    <a:lnTo>
                      <a:pt x="183" y="633"/>
                    </a:lnTo>
                    <a:lnTo>
                      <a:pt x="225" y="588"/>
                    </a:lnTo>
                    <a:lnTo>
                      <a:pt x="228" y="552"/>
                    </a:lnTo>
                    <a:lnTo>
                      <a:pt x="273" y="510"/>
                    </a:lnTo>
                    <a:lnTo>
                      <a:pt x="291" y="456"/>
                    </a:lnTo>
                    <a:lnTo>
                      <a:pt x="345" y="465"/>
                    </a:lnTo>
                    <a:lnTo>
                      <a:pt x="387" y="513"/>
                    </a:lnTo>
                    <a:lnTo>
                      <a:pt x="339" y="519"/>
                    </a:lnTo>
                    <a:lnTo>
                      <a:pt x="285" y="537"/>
                    </a:lnTo>
                    <a:lnTo>
                      <a:pt x="261" y="561"/>
                    </a:lnTo>
                    <a:lnTo>
                      <a:pt x="303" y="564"/>
                    </a:lnTo>
                    <a:lnTo>
                      <a:pt x="357" y="633"/>
                    </a:lnTo>
                    <a:lnTo>
                      <a:pt x="339" y="663"/>
                    </a:lnTo>
                    <a:lnTo>
                      <a:pt x="321" y="675"/>
                    </a:lnTo>
                    <a:lnTo>
                      <a:pt x="345" y="714"/>
                    </a:lnTo>
                    <a:lnTo>
                      <a:pt x="396" y="696"/>
                    </a:lnTo>
                    <a:lnTo>
                      <a:pt x="447" y="696"/>
                    </a:lnTo>
                    <a:lnTo>
                      <a:pt x="456" y="744"/>
                    </a:lnTo>
                    <a:lnTo>
                      <a:pt x="513" y="768"/>
                    </a:lnTo>
                    <a:lnTo>
                      <a:pt x="543" y="675"/>
                    </a:lnTo>
                    <a:lnTo>
                      <a:pt x="507" y="651"/>
                    </a:lnTo>
                    <a:lnTo>
                      <a:pt x="489" y="615"/>
                    </a:lnTo>
                    <a:lnTo>
                      <a:pt x="429" y="588"/>
                    </a:lnTo>
                    <a:lnTo>
                      <a:pt x="429" y="549"/>
                    </a:lnTo>
                    <a:lnTo>
                      <a:pt x="546" y="561"/>
                    </a:lnTo>
                    <a:lnTo>
                      <a:pt x="519" y="459"/>
                    </a:lnTo>
                    <a:lnTo>
                      <a:pt x="543" y="459"/>
                    </a:lnTo>
                    <a:lnTo>
                      <a:pt x="573" y="528"/>
                    </a:lnTo>
                    <a:lnTo>
                      <a:pt x="603" y="570"/>
                    </a:lnTo>
                    <a:lnTo>
                      <a:pt x="642" y="588"/>
                    </a:lnTo>
                    <a:lnTo>
                      <a:pt x="687" y="591"/>
                    </a:lnTo>
                    <a:lnTo>
                      <a:pt x="744" y="549"/>
                    </a:lnTo>
                    <a:lnTo>
                      <a:pt x="753" y="522"/>
                    </a:lnTo>
                    <a:lnTo>
                      <a:pt x="807" y="540"/>
                    </a:lnTo>
                    <a:lnTo>
                      <a:pt x="849" y="579"/>
                    </a:lnTo>
                    <a:lnTo>
                      <a:pt x="942" y="630"/>
                    </a:lnTo>
                    <a:lnTo>
                      <a:pt x="933" y="666"/>
                    </a:lnTo>
                    <a:lnTo>
                      <a:pt x="888" y="645"/>
                    </a:lnTo>
                    <a:lnTo>
                      <a:pt x="831" y="618"/>
                    </a:lnTo>
                    <a:lnTo>
                      <a:pt x="798" y="585"/>
                    </a:lnTo>
                    <a:lnTo>
                      <a:pt x="762" y="576"/>
                    </a:lnTo>
                    <a:lnTo>
                      <a:pt x="738" y="612"/>
                    </a:lnTo>
                    <a:lnTo>
                      <a:pt x="738" y="654"/>
                    </a:lnTo>
                    <a:lnTo>
                      <a:pt x="894" y="708"/>
                    </a:lnTo>
                    <a:lnTo>
                      <a:pt x="948" y="690"/>
                    </a:lnTo>
                    <a:lnTo>
                      <a:pt x="981" y="645"/>
                    </a:lnTo>
                    <a:lnTo>
                      <a:pt x="1068" y="639"/>
                    </a:lnTo>
                    <a:close/>
                  </a:path>
                </a:pathLst>
              </a:custGeom>
              <a:solidFill>
                <a:srgbClr val="DDDDDD"/>
              </a:solidFill>
              <a:ln w="9525" cap="flat" cmpd="sng">
                <a:solidFill>
                  <a:schemeClr val="bg1"/>
                </a:solidFill>
                <a:prstDash val="solid"/>
                <a:round/>
                <a:headEnd type="none" w="med" len="med"/>
                <a:tailEnd type="none" w="med" len="med"/>
              </a:ln>
            </p:spPr>
            <p:txBody>
              <a:bodyPr/>
              <a:lstStyle/>
              <a:p>
                <a:pPr marL="0" marR="0" lvl="0" indent="0" algn="l" defTabSz="457011"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106641" name="Text Box 145"/>
          <p:cNvSpPr txBox="1">
            <a:spLocks noChangeArrowheads="1"/>
          </p:cNvSpPr>
          <p:nvPr/>
        </p:nvSpPr>
        <p:spPr bwMode="auto">
          <a:xfrm>
            <a:off x="6001202" y="1970952"/>
            <a:ext cx="5226089" cy="523220"/>
          </a:xfrm>
          <a:prstGeom prst="rect">
            <a:avLst/>
          </a:prstGeom>
          <a:solidFill>
            <a:schemeClr val="accent3">
              <a:lumMod val="60000"/>
              <a:lumOff val="40000"/>
            </a:schemeClr>
          </a:solidFill>
          <a:ln>
            <a:headEnd/>
            <a:tailEnd/>
          </a:ln>
          <a:scene3d>
            <a:camera prst="orthographicFront">
              <a:rot lat="0" lon="0" rev="0"/>
            </a:camera>
            <a:lightRig rig="threePt" dir="t">
              <a:rot lat="0" lon="0" rev="1200000"/>
            </a:lightRig>
          </a:scene3d>
          <a:sp3d contourW="25400">
            <a:contourClr>
              <a:schemeClr val="accent3">
                <a:lumMod val="75000"/>
              </a:schemeClr>
            </a:contourClr>
          </a:sp3d>
        </p:spPr>
        <p:style>
          <a:lnRef idx="0">
            <a:schemeClr val="accent3"/>
          </a:lnRef>
          <a:fillRef idx="3">
            <a:schemeClr val="accent3"/>
          </a:fillRef>
          <a:effectRef idx="3">
            <a:schemeClr val="accent3"/>
          </a:effectRef>
          <a:fontRef idx="minor">
            <a:schemeClr val="lt1"/>
          </a:fontRef>
        </p:style>
        <p:txBody>
          <a:bodyPr wrap="square" anchor="ctr" anchorCtr="0">
            <a:spAutoFit/>
          </a:bodyPr>
          <a:lstStyle/>
          <a:p>
            <a:pPr marL="0" marR="0" lvl="0" indent="0" algn="ctr" defTabSz="457011"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FFFFFE"/>
                </a:solidFill>
                <a:effectLst/>
                <a:uLnTx/>
                <a:uFillTx/>
                <a:latin typeface="Arial"/>
                <a:ea typeface="+mn-ea"/>
                <a:cs typeface="+mn-cs"/>
              </a:rPr>
              <a:t> </a:t>
            </a:r>
            <a:r>
              <a:rPr kumimoji="0" lang="da-DK" sz="2800" b="0" i="0" u="none" strike="noStrike" kern="1200" cap="none" spc="0" normalizeH="0" baseline="0" noProof="0" dirty="0">
                <a:ln>
                  <a:noFill/>
                </a:ln>
                <a:solidFill>
                  <a:schemeClr val="tx1"/>
                </a:solidFill>
                <a:effectLst/>
                <a:uLnTx/>
                <a:uFillTx/>
                <a:latin typeface="Arial"/>
                <a:ea typeface="+mn-ea"/>
                <a:cs typeface="+mn-cs"/>
              </a:rPr>
              <a:t>Tæt på 965.000 medlemmer</a:t>
            </a:r>
          </a:p>
        </p:txBody>
      </p:sp>
      <p:sp>
        <p:nvSpPr>
          <p:cNvPr id="106644" name="Text Box 148"/>
          <p:cNvSpPr txBox="1">
            <a:spLocks noChangeArrowheads="1"/>
          </p:cNvSpPr>
          <p:nvPr/>
        </p:nvSpPr>
        <p:spPr bwMode="auto">
          <a:xfrm>
            <a:off x="5712821" y="3180596"/>
            <a:ext cx="5514469" cy="523220"/>
          </a:xfrm>
          <a:prstGeom prst="rect">
            <a:avLst/>
          </a:prstGeom>
          <a:solidFill>
            <a:schemeClr val="accent3">
              <a:lumMod val="40000"/>
              <a:lumOff val="60000"/>
            </a:schemeClr>
          </a:solidFill>
          <a:ln>
            <a:headEnd/>
            <a:tailEnd/>
          </a:ln>
          <a:scene3d>
            <a:camera prst="orthographicFront">
              <a:rot lat="0" lon="0" rev="0"/>
            </a:camera>
            <a:lightRig rig="threePt" dir="t">
              <a:rot lat="0" lon="0" rev="1200000"/>
            </a:lightRig>
          </a:scene3d>
          <a:sp3d contourW="25400">
            <a:contourClr>
              <a:schemeClr val="accent3">
                <a:lumMod val="75000"/>
              </a:schemeClr>
            </a:contourClr>
          </a:sp3d>
        </p:spPr>
        <p:style>
          <a:lnRef idx="0">
            <a:schemeClr val="accent3"/>
          </a:lnRef>
          <a:fillRef idx="3">
            <a:schemeClr val="accent3"/>
          </a:fillRef>
          <a:effectRef idx="3">
            <a:schemeClr val="accent3"/>
          </a:effectRef>
          <a:fontRef idx="minor">
            <a:schemeClr val="lt1"/>
          </a:fontRef>
        </p:style>
        <p:txBody>
          <a:bodyPr wrap="square">
            <a:spAutoFit/>
          </a:bodyPr>
          <a:lstStyle/>
          <a:p>
            <a:pPr marL="0" marR="0" lvl="0" indent="0" algn="ctr" defTabSz="457011"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chemeClr val="tx1"/>
                </a:solidFill>
                <a:effectLst/>
                <a:uLnTx/>
                <a:uFillTx/>
                <a:latin typeface="Arial"/>
                <a:ea typeface="+mn-ea"/>
                <a:cs typeface="+mn-cs"/>
              </a:rPr>
              <a:t>Landsbestyrelsen 9 medlemmer</a:t>
            </a:r>
          </a:p>
        </p:txBody>
      </p:sp>
      <p:sp>
        <p:nvSpPr>
          <p:cNvPr id="106650" name="Text Box 154"/>
          <p:cNvSpPr txBox="1">
            <a:spLocks noChangeArrowheads="1"/>
          </p:cNvSpPr>
          <p:nvPr/>
        </p:nvSpPr>
        <p:spPr bwMode="auto">
          <a:xfrm>
            <a:off x="7360850" y="5020703"/>
            <a:ext cx="3901797" cy="523220"/>
          </a:xfrm>
          <a:prstGeom prst="rect">
            <a:avLst/>
          </a:prstGeom>
          <a:solidFill>
            <a:schemeClr val="accent1">
              <a:lumMod val="40000"/>
              <a:lumOff val="60000"/>
            </a:schemeClr>
          </a:solidFill>
          <a:ln>
            <a:headEnd/>
            <a:tailEnd/>
          </a:ln>
          <a:scene3d>
            <a:camera prst="orthographicFront">
              <a:rot lat="0" lon="0" rev="0"/>
            </a:camera>
            <a:lightRig rig="threePt" dir="t">
              <a:rot lat="0" lon="0" rev="1200000"/>
            </a:lightRig>
          </a:scene3d>
          <a:sp3d contourW="25400">
            <a:contourClr>
              <a:schemeClr val="accent2">
                <a:lumMod val="40000"/>
                <a:lumOff val="60000"/>
              </a:schemeClr>
            </a:contourClr>
          </a:sp3d>
        </p:spPr>
        <p:style>
          <a:lnRef idx="0">
            <a:schemeClr val="accent4"/>
          </a:lnRef>
          <a:fillRef idx="3">
            <a:schemeClr val="accent4"/>
          </a:fillRef>
          <a:effectRef idx="3">
            <a:schemeClr val="accent4"/>
          </a:effectRef>
          <a:fontRef idx="minor">
            <a:schemeClr val="lt1"/>
          </a:fontRef>
        </p:style>
        <p:txBody>
          <a:bodyPr wrap="square">
            <a:spAutoFit/>
          </a:bodyPr>
          <a:lstStyle/>
          <a:p>
            <a:pPr marL="0" marR="0" lvl="0" indent="0" algn="ctr" defTabSz="457011"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chemeClr val="tx1"/>
                </a:solidFill>
                <a:effectLst/>
                <a:uLnTx/>
                <a:uFillTx/>
                <a:latin typeface="Arial"/>
                <a:ea typeface="+mn-ea"/>
                <a:cs typeface="+mn-cs"/>
              </a:rPr>
              <a:t>10 Distrikter </a:t>
            </a:r>
          </a:p>
        </p:txBody>
      </p:sp>
      <p:sp>
        <p:nvSpPr>
          <p:cNvPr id="3" name="Pladsholder til tekst 2"/>
          <p:cNvSpPr>
            <a:spLocks noGrp="1"/>
          </p:cNvSpPr>
          <p:nvPr>
            <p:ph type="body" sz="quarter" idx="10"/>
          </p:nvPr>
        </p:nvSpPr>
        <p:spPr>
          <a:xfrm>
            <a:off x="3364713" y="1534187"/>
            <a:ext cx="7803593" cy="329899"/>
          </a:xfrm>
        </p:spPr>
        <p:txBody>
          <a:bodyPr/>
          <a:lstStyle/>
          <a:p>
            <a:r>
              <a:rPr lang="da-DK" sz="2000" dirty="0">
                <a:solidFill>
                  <a:schemeClr val="tx1"/>
                </a:solidFill>
              </a:rPr>
              <a:t>Medlemskabet i Ældre Sagen er landsdækkende</a:t>
            </a:r>
          </a:p>
        </p:txBody>
      </p:sp>
      <p:sp>
        <p:nvSpPr>
          <p:cNvPr id="4" name="Pladsholder til tekst 3"/>
          <p:cNvSpPr>
            <a:spLocks noGrp="1"/>
          </p:cNvSpPr>
          <p:nvPr>
            <p:ph type="body" sz="quarter" idx="11"/>
          </p:nvPr>
        </p:nvSpPr>
        <p:spPr/>
        <p:txBody>
          <a:bodyPr/>
          <a:lstStyle/>
          <a:p>
            <a:r>
              <a:rPr lang="da-DK" dirty="0"/>
              <a:t>Ældre Sagen Landsorganisation</a:t>
            </a:r>
          </a:p>
        </p:txBody>
      </p:sp>
      <p:sp>
        <p:nvSpPr>
          <p:cNvPr id="106642" name="Text Box 146"/>
          <p:cNvSpPr txBox="1">
            <a:spLocks noChangeArrowheads="1"/>
          </p:cNvSpPr>
          <p:nvPr/>
        </p:nvSpPr>
        <p:spPr bwMode="auto">
          <a:xfrm>
            <a:off x="6888438" y="2572012"/>
            <a:ext cx="4331575" cy="523220"/>
          </a:xfrm>
          <a:prstGeom prst="rect">
            <a:avLst/>
          </a:prstGeom>
          <a:solidFill>
            <a:schemeClr val="accent3">
              <a:lumMod val="60000"/>
              <a:lumOff val="40000"/>
            </a:schemeClr>
          </a:solidFill>
          <a:ln>
            <a:headEnd/>
            <a:tailEnd/>
          </a:ln>
          <a:scene3d>
            <a:camera prst="orthographicFront">
              <a:rot lat="0" lon="0" rev="0"/>
            </a:camera>
            <a:lightRig rig="threePt" dir="t">
              <a:rot lat="0" lon="0" rev="1200000"/>
            </a:lightRig>
          </a:scene3d>
          <a:sp3d contourW="25400">
            <a:contourClr>
              <a:schemeClr val="accent3">
                <a:lumMod val="75000"/>
              </a:schemeClr>
            </a:contourClr>
          </a:sp3d>
        </p:spPr>
        <p:style>
          <a:lnRef idx="0">
            <a:schemeClr val="accent3"/>
          </a:lnRef>
          <a:fillRef idx="3">
            <a:schemeClr val="accent3"/>
          </a:fillRef>
          <a:effectRef idx="3">
            <a:schemeClr val="accent3"/>
          </a:effectRef>
          <a:fontRef idx="minor">
            <a:schemeClr val="lt1"/>
          </a:fontRef>
        </p:style>
        <p:txBody>
          <a:bodyPr wrap="square">
            <a:spAutoFit/>
          </a:bodyPr>
          <a:lstStyle/>
          <a:p>
            <a:pPr marL="0" marR="0" lvl="0" indent="0" algn="ctr" defTabSz="457011"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chemeClr val="tx1"/>
                </a:solidFill>
                <a:effectLst/>
                <a:uLnTx/>
                <a:uFillTx/>
                <a:latin typeface="Arial"/>
                <a:ea typeface="+mn-ea"/>
                <a:cs typeface="+mn-cs"/>
              </a:rPr>
              <a:t>Delegeretforsamling</a:t>
            </a:r>
          </a:p>
        </p:txBody>
      </p:sp>
      <p:sp>
        <p:nvSpPr>
          <p:cNvPr id="166" name="Text Box 143"/>
          <p:cNvSpPr txBox="1">
            <a:spLocks noChangeArrowheads="1"/>
          </p:cNvSpPr>
          <p:nvPr/>
        </p:nvSpPr>
        <p:spPr bwMode="auto">
          <a:xfrm>
            <a:off x="6961120" y="3906829"/>
            <a:ext cx="4307292" cy="954107"/>
          </a:xfrm>
          <a:prstGeom prst="rect">
            <a:avLst/>
          </a:prstGeom>
          <a:solidFill>
            <a:schemeClr val="accent1">
              <a:lumMod val="40000"/>
              <a:lumOff val="60000"/>
            </a:schemeClr>
          </a:solidFill>
          <a:ln>
            <a:headEnd/>
            <a:tailEnd/>
          </a:ln>
          <a:scene3d>
            <a:camera prst="orthographicFront">
              <a:rot lat="0" lon="0" rev="0"/>
            </a:camera>
            <a:lightRig rig="threePt" dir="t">
              <a:rot lat="0" lon="0" rev="1200000"/>
            </a:lightRig>
          </a:scene3d>
          <a:sp3d contourW="25400">
            <a:contourClr>
              <a:schemeClr val="accent2">
                <a:lumMod val="60000"/>
                <a:lumOff val="40000"/>
              </a:schemeClr>
            </a:contourClr>
          </a:sp3d>
        </p:spPr>
        <p:style>
          <a:lnRef idx="0">
            <a:schemeClr val="accent3"/>
          </a:lnRef>
          <a:fillRef idx="3">
            <a:schemeClr val="accent3"/>
          </a:fillRef>
          <a:effectRef idx="3">
            <a:schemeClr val="accent3"/>
          </a:effectRef>
          <a:fontRef idx="minor">
            <a:schemeClr val="lt1"/>
          </a:fontRef>
        </p:style>
        <p:txBody>
          <a:bodyPr wrap="square">
            <a:spAutoFit/>
          </a:bodyPr>
          <a:lstStyle/>
          <a:p>
            <a:pPr marL="0" marR="0" lvl="0" indent="0" algn="ctr" defTabSz="457011" rtl="0" eaLnBrk="1" fontAlgn="auto" latinLnBrk="0" hangingPunct="1">
              <a:lnSpc>
                <a:spcPct val="100000"/>
              </a:lnSpc>
              <a:spcBef>
                <a:spcPts val="0"/>
              </a:spcBef>
              <a:spcAft>
                <a:spcPts val="0"/>
              </a:spcAft>
              <a:buClrTx/>
              <a:buSzTx/>
              <a:buFontTx/>
              <a:buNone/>
              <a:tabLst/>
              <a:defRPr/>
            </a:pPr>
            <a:r>
              <a:rPr kumimoji="0" lang="da-DK" sz="2800" b="0" i="0" u="none" strike="noStrike" kern="1200" cap="none" spc="0" normalizeH="0" baseline="0" noProof="0" dirty="0">
                <a:ln>
                  <a:noFill/>
                </a:ln>
                <a:solidFill>
                  <a:schemeClr val="tx1"/>
                </a:solidFill>
                <a:effectLst/>
                <a:uLnTx/>
                <a:uFillTx/>
                <a:latin typeface="Arial"/>
                <a:ea typeface="+mn-ea"/>
                <a:cs typeface="+mn-cs"/>
              </a:rPr>
              <a:t>215 Lokalafdelinger (98 kommuner)</a:t>
            </a:r>
          </a:p>
        </p:txBody>
      </p:sp>
    </p:spTree>
    <p:extLst>
      <p:ext uri="{BB962C8B-B14F-4D97-AF65-F5344CB8AC3E}">
        <p14:creationId xmlns:p14="http://schemas.microsoft.com/office/powerpoint/2010/main" val="411764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106641"/>
                                        </p:tgtEl>
                                        <p:attrNameLst>
                                          <p:attrName>style.visibility</p:attrName>
                                        </p:attrNameLst>
                                      </p:cBhvr>
                                      <p:to>
                                        <p:strVal val="visible"/>
                                      </p:to>
                                    </p:set>
                                    <p:animEffect transition="in" filter="wipe(left)">
                                      <p:cBhvr>
                                        <p:cTn id="7" dur="1000"/>
                                        <p:tgtEl>
                                          <p:spTgt spid="106641"/>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106650"/>
                                        </p:tgtEl>
                                        <p:attrNameLst>
                                          <p:attrName>style.visibility</p:attrName>
                                        </p:attrNameLst>
                                      </p:cBhvr>
                                      <p:to>
                                        <p:strVal val="visible"/>
                                      </p:to>
                                    </p:set>
                                    <p:animEffect transition="in" filter="wipe(left)">
                                      <p:cBhvr>
                                        <p:cTn id="11" dur="1000"/>
                                        <p:tgtEl>
                                          <p:spTgt spid="106650"/>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106642"/>
                                        </p:tgtEl>
                                        <p:attrNameLst>
                                          <p:attrName>style.visibility</p:attrName>
                                        </p:attrNameLst>
                                      </p:cBhvr>
                                      <p:to>
                                        <p:strVal val="visible"/>
                                      </p:to>
                                    </p:set>
                                    <p:animEffect transition="in" filter="wipe(up)">
                                      <p:cBhvr>
                                        <p:cTn id="15" dur="1000"/>
                                        <p:tgtEl>
                                          <p:spTgt spid="106642"/>
                                        </p:tgtEl>
                                      </p:cBhvr>
                                    </p:animEffect>
                                  </p:childTnLst>
                                </p:cTn>
                              </p:par>
                            </p:childTnLst>
                          </p:cTn>
                        </p:par>
                        <p:par>
                          <p:cTn id="16" fill="hold">
                            <p:stCondLst>
                              <p:cond delay="3000"/>
                            </p:stCondLst>
                            <p:childTnLst>
                              <p:par>
                                <p:cTn id="17" presetID="22" presetClass="entr" presetSubtype="1" fill="hold" nodeType="afterEffect">
                                  <p:stCondLst>
                                    <p:cond delay="0"/>
                                  </p:stCondLst>
                                  <p:childTnLst>
                                    <p:set>
                                      <p:cBhvr>
                                        <p:cTn id="18" dur="1" fill="hold">
                                          <p:stCondLst>
                                            <p:cond delay="0"/>
                                          </p:stCondLst>
                                        </p:cTn>
                                        <p:tgtEl>
                                          <p:spTgt spid="106644"/>
                                        </p:tgtEl>
                                        <p:attrNameLst>
                                          <p:attrName>style.visibility</p:attrName>
                                        </p:attrNameLst>
                                      </p:cBhvr>
                                      <p:to>
                                        <p:strVal val="visible"/>
                                      </p:to>
                                    </p:set>
                                    <p:animEffect transition="in" filter="wipe(up)">
                                      <p:cBhvr>
                                        <p:cTn id="19" dur="1000"/>
                                        <p:tgtEl>
                                          <p:spTgt spid="1066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F501D377-0FFD-BE1B-BD2A-1A1BDEA19290}"/>
              </a:ext>
            </a:extLst>
          </p:cNvPr>
          <p:cNvSpPr>
            <a:spLocks noGrp="1"/>
          </p:cNvSpPr>
          <p:nvPr>
            <p:ph type="body" sz="quarter" idx="10"/>
          </p:nvPr>
        </p:nvSpPr>
        <p:spPr/>
        <p:txBody>
          <a:bodyPr/>
          <a:lstStyle/>
          <a:p>
            <a:r>
              <a:rPr lang="da-DK" dirty="0"/>
              <a:t>Bestyrelsen</a:t>
            </a:r>
          </a:p>
        </p:txBody>
      </p:sp>
      <p:sp>
        <p:nvSpPr>
          <p:cNvPr id="3" name="Pladsholder til tekst 2">
            <a:extLst>
              <a:ext uri="{FF2B5EF4-FFF2-40B4-BE49-F238E27FC236}">
                <a16:creationId xmlns:a16="http://schemas.microsoft.com/office/drawing/2014/main" id="{60A9ADAD-F54C-BC6E-50DE-EC3656919596}"/>
              </a:ext>
            </a:extLst>
          </p:cNvPr>
          <p:cNvSpPr>
            <a:spLocks noGrp="1"/>
          </p:cNvSpPr>
          <p:nvPr>
            <p:ph type="body" sz="quarter" idx="11"/>
          </p:nvPr>
        </p:nvSpPr>
        <p:spPr/>
        <p:txBody>
          <a:bodyPr/>
          <a:lstStyle/>
          <a:p>
            <a:r>
              <a:rPr lang="da-DK" dirty="0"/>
              <a:t>Ældre Sagen Greve</a:t>
            </a:r>
          </a:p>
        </p:txBody>
      </p:sp>
      <p:pic>
        <p:nvPicPr>
          <p:cNvPr id="5" name="Billede 4" descr="Et billede, der indeholder Ansigt, tekst, smil, person&#10;&#10;Automatisk genereret beskrivelse">
            <a:extLst>
              <a:ext uri="{FF2B5EF4-FFF2-40B4-BE49-F238E27FC236}">
                <a16:creationId xmlns:a16="http://schemas.microsoft.com/office/drawing/2014/main" id="{1EB31EEE-0860-3F37-29BA-D589DEA618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31538" y="3159287"/>
            <a:ext cx="1048266" cy="1456538"/>
          </a:xfrm>
          <a:prstGeom prst="rect">
            <a:avLst/>
          </a:prstGeom>
        </p:spPr>
      </p:pic>
      <p:pic>
        <p:nvPicPr>
          <p:cNvPr id="10" name="Pladsholder til indhold 9" descr="Et billede, der indeholder Ansigt, smil, briller, person&#10;&#10;Automatisk genereret beskrivelse">
            <a:extLst>
              <a:ext uri="{FF2B5EF4-FFF2-40B4-BE49-F238E27FC236}">
                <a16:creationId xmlns:a16="http://schemas.microsoft.com/office/drawing/2014/main" id="{33C1A790-340F-A187-BD24-92E847F00099}"/>
              </a:ext>
            </a:extLst>
          </p:cNvPr>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056131" y="1370022"/>
            <a:ext cx="1265180" cy="1621397"/>
          </a:xfrm>
        </p:spPr>
      </p:pic>
      <p:pic>
        <p:nvPicPr>
          <p:cNvPr id="12" name="Billede 11" descr="Et billede, der indeholder tekst, Ansigt, smil, person&#10;&#10;Automatisk genereret beskrivelse">
            <a:extLst>
              <a:ext uri="{FF2B5EF4-FFF2-40B4-BE49-F238E27FC236}">
                <a16:creationId xmlns:a16="http://schemas.microsoft.com/office/drawing/2014/main" id="{6F28BF2F-BCF4-27AB-E375-3498AD8D41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3785" y="3117009"/>
            <a:ext cx="1296608" cy="1614643"/>
          </a:xfrm>
          <a:prstGeom prst="rect">
            <a:avLst/>
          </a:prstGeom>
        </p:spPr>
      </p:pic>
      <p:pic>
        <p:nvPicPr>
          <p:cNvPr id="14" name="Billede 13" descr="Et billede, der indeholder Ansigt, tekst, menneske, Pande&#10;&#10;Automatisk genereret beskrivelse">
            <a:extLst>
              <a:ext uri="{FF2B5EF4-FFF2-40B4-BE49-F238E27FC236}">
                <a16:creationId xmlns:a16="http://schemas.microsoft.com/office/drawing/2014/main" id="{1C1DE086-C494-F46B-32CB-DF0834130DE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5638" y="3098829"/>
            <a:ext cx="1286857" cy="1614643"/>
          </a:xfrm>
          <a:prstGeom prst="rect">
            <a:avLst/>
          </a:prstGeom>
        </p:spPr>
      </p:pic>
      <p:pic>
        <p:nvPicPr>
          <p:cNvPr id="16" name="Billede 15" descr="Et billede, der indeholder rynke, Pande, Pensionist, briller&#10;&#10;Automatisk genereret beskrivelse">
            <a:extLst>
              <a:ext uri="{FF2B5EF4-FFF2-40B4-BE49-F238E27FC236}">
                <a16:creationId xmlns:a16="http://schemas.microsoft.com/office/drawing/2014/main" id="{CC36D5FD-335B-2DEF-3007-532B30FC10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04473" y="1370022"/>
            <a:ext cx="1279498" cy="1617479"/>
          </a:xfrm>
          <a:prstGeom prst="rect">
            <a:avLst/>
          </a:prstGeom>
        </p:spPr>
      </p:pic>
      <p:pic>
        <p:nvPicPr>
          <p:cNvPr id="18" name="Billede 17" descr="Et billede, der indeholder smil, Ansigt, person, tøj&#10;&#10;Automatisk genereret beskrivelse">
            <a:extLst>
              <a:ext uri="{FF2B5EF4-FFF2-40B4-BE49-F238E27FC236}">
                <a16:creationId xmlns:a16="http://schemas.microsoft.com/office/drawing/2014/main" id="{C7A5626A-EC19-F9E3-F9BE-90ECB794A3A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01409" y="3159287"/>
            <a:ext cx="1244634" cy="1714547"/>
          </a:xfrm>
          <a:prstGeom prst="rect">
            <a:avLst/>
          </a:prstGeom>
        </p:spPr>
      </p:pic>
      <p:pic>
        <p:nvPicPr>
          <p:cNvPr id="20" name="Billede 19" descr="Et billede, der indeholder Ansigt, person, smil, Hage&#10;&#10;Automatisk genereret beskrivelse">
            <a:extLst>
              <a:ext uri="{FF2B5EF4-FFF2-40B4-BE49-F238E27FC236}">
                <a16:creationId xmlns:a16="http://schemas.microsoft.com/office/drawing/2014/main" id="{333763EC-5737-B38C-D02E-A313596EECD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054" y="3166878"/>
            <a:ext cx="1270591" cy="1706956"/>
          </a:xfrm>
          <a:prstGeom prst="rect">
            <a:avLst/>
          </a:prstGeom>
        </p:spPr>
      </p:pic>
      <p:pic>
        <p:nvPicPr>
          <p:cNvPr id="22" name="Billede 21" descr="Et billede, der indeholder Ansigt, Pande, Hage, hud&#10;&#10;Automatisk genereret beskrivelse">
            <a:extLst>
              <a:ext uri="{FF2B5EF4-FFF2-40B4-BE49-F238E27FC236}">
                <a16:creationId xmlns:a16="http://schemas.microsoft.com/office/drawing/2014/main" id="{6A42EF86-FE6B-21F8-108E-449E0ABB5F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83624" y="4672402"/>
            <a:ext cx="1216769" cy="1538179"/>
          </a:xfrm>
          <a:prstGeom prst="rect">
            <a:avLst/>
          </a:prstGeom>
        </p:spPr>
      </p:pic>
      <p:pic>
        <p:nvPicPr>
          <p:cNvPr id="24" name="Billede 23" descr="Et billede, der indeholder Ansigt, Pande, Pensionist, rynke&#10;&#10;Automatisk genereret beskrivelse">
            <a:extLst>
              <a:ext uri="{FF2B5EF4-FFF2-40B4-BE49-F238E27FC236}">
                <a16:creationId xmlns:a16="http://schemas.microsoft.com/office/drawing/2014/main" id="{1080FB5E-797E-453F-57FD-AAF5E40CF5B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66500" y="4695038"/>
            <a:ext cx="1160076" cy="1488399"/>
          </a:xfrm>
          <a:prstGeom prst="rect">
            <a:avLst/>
          </a:prstGeom>
        </p:spPr>
      </p:pic>
      <p:pic>
        <p:nvPicPr>
          <p:cNvPr id="27" name="Billede 26" descr="Et billede, der indeholder Ansigt, Pande, briller, Hage&#10;&#10;Automatisk genereret beskrivelse">
            <a:extLst>
              <a:ext uri="{FF2B5EF4-FFF2-40B4-BE49-F238E27FC236}">
                <a16:creationId xmlns:a16="http://schemas.microsoft.com/office/drawing/2014/main" id="{D4250FB8-9C38-3097-600E-87B1721584B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35170" y="4713472"/>
            <a:ext cx="1244634" cy="1538180"/>
          </a:xfrm>
          <a:prstGeom prst="rect">
            <a:avLst/>
          </a:prstGeom>
        </p:spPr>
      </p:pic>
      <p:pic>
        <p:nvPicPr>
          <p:cNvPr id="6" name="Billede 5" descr="Et billede, der indeholder Ansigt, person, Pande, Hage&#10;&#10;Automatisk genereret beskrivelse">
            <a:extLst>
              <a:ext uri="{FF2B5EF4-FFF2-40B4-BE49-F238E27FC236}">
                <a16:creationId xmlns:a16="http://schemas.microsoft.com/office/drawing/2014/main" id="{A2F51982-98BA-CE97-9B53-D281F8224D5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33418" y="3152118"/>
            <a:ext cx="1190146" cy="1313266"/>
          </a:xfrm>
          <a:prstGeom prst="rect">
            <a:avLst/>
          </a:prstGeom>
        </p:spPr>
      </p:pic>
      <p:pic>
        <p:nvPicPr>
          <p:cNvPr id="8" name="Billede 7" descr="Et billede, der indeholder Ansigt, person, Pande, Hage&#10;&#10;Automatisk genereret beskrivelse">
            <a:extLst>
              <a:ext uri="{FF2B5EF4-FFF2-40B4-BE49-F238E27FC236}">
                <a16:creationId xmlns:a16="http://schemas.microsoft.com/office/drawing/2014/main" id="{75E1F441-E56A-94B4-BAFD-6592DDF7BCA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66500" y="3098829"/>
            <a:ext cx="1198931" cy="1257142"/>
          </a:xfrm>
          <a:prstGeom prst="rect">
            <a:avLst/>
          </a:prstGeom>
        </p:spPr>
      </p:pic>
      <p:sp>
        <p:nvSpPr>
          <p:cNvPr id="4" name="Tekstfelt 3">
            <a:extLst>
              <a:ext uri="{FF2B5EF4-FFF2-40B4-BE49-F238E27FC236}">
                <a16:creationId xmlns:a16="http://schemas.microsoft.com/office/drawing/2014/main" id="{C60DF273-C867-A7C6-53C4-B3847FA331B5}"/>
              </a:ext>
            </a:extLst>
          </p:cNvPr>
          <p:cNvSpPr txBox="1"/>
          <p:nvPr/>
        </p:nvSpPr>
        <p:spPr>
          <a:xfrm>
            <a:off x="4083971" y="4399172"/>
            <a:ext cx="1009524" cy="36420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1" hangingPunct="0">
              <a:lnSpc>
                <a:spcPct val="100000"/>
              </a:lnSpc>
              <a:spcBef>
                <a:spcPts val="0"/>
              </a:spcBef>
              <a:spcAft>
                <a:spcPts val="0"/>
              </a:spcAft>
              <a:buClrTx/>
              <a:buSzTx/>
              <a:buFontTx/>
              <a:buNone/>
              <a:tabLst/>
            </a:pPr>
            <a:r>
              <a:rPr kumimoji="0" lang="da-DK" sz="1700" b="1" i="0" u="none" strike="noStrike" cap="none" spc="0" normalizeH="0" baseline="0" dirty="0">
                <a:ln>
                  <a:noFill/>
                </a:ln>
                <a:solidFill>
                  <a:srgbClr val="414141"/>
                </a:solidFill>
                <a:effectLst/>
                <a:uFillTx/>
                <a:latin typeface="+mn-lt"/>
                <a:ea typeface="Palatino"/>
                <a:cs typeface="Palatino"/>
                <a:sym typeface="Palatino"/>
              </a:rPr>
              <a:t>Jørgen</a:t>
            </a:r>
          </a:p>
        </p:txBody>
      </p:sp>
      <p:sp>
        <p:nvSpPr>
          <p:cNvPr id="7" name="Tekstfelt 6">
            <a:extLst>
              <a:ext uri="{FF2B5EF4-FFF2-40B4-BE49-F238E27FC236}">
                <a16:creationId xmlns:a16="http://schemas.microsoft.com/office/drawing/2014/main" id="{0F7F8697-E551-F3B8-7B2C-241708A8D551}"/>
              </a:ext>
            </a:extLst>
          </p:cNvPr>
          <p:cNvSpPr txBox="1"/>
          <p:nvPr/>
        </p:nvSpPr>
        <p:spPr>
          <a:xfrm>
            <a:off x="8728847" y="4273388"/>
            <a:ext cx="1169637" cy="36420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1" hangingPunct="0">
              <a:lnSpc>
                <a:spcPct val="100000"/>
              </a:lnSpc>
              <a:spcBef>
                <a:spcPts val="0"/>
              </a:spcBef>
              <a:spcAft>
                <a:spcPts val="0"/>
              </a:spcAft>
              <a:buClrTx/>
              <a:buSzTx/>
              <a:buFontTx/>
              <a:buNone/>
              <a:tabLst/>
            </a:pPr>
            <a:r>
              <a:rPr kumimoji="0" lang="da-DK" sz="1700" b="1" i="0" u="none" strike="noStrike" cap="none" spc="0" normalizeH="0" baseline="0" dirty="0">
                <a:ln>
                  <a:noFill/>
                </a:ln>
                <a:effectLst/>
                <a:uFillTx/>
                <a:ea typeface="Palatino"/>
                <a:cs typeface="Palatino"/>
                <a:sym typeface="Palatino"/>
              </a:rPr>
              <a:t>Peter F.</a:t>
            </a:r>
          </a:p>
        </p:txBody>
      </p:sp>
    </p:spTree>
    <p:extLst>
      <p:ext uri="{BB962C8B-B14F-4D97-AF65-F5344CB8AC3E}">
        <p14:creationId xmlns:p14="http://schemas.microsoft.com/office/powerpoint/2010/main" val="44017416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505036F2-9FC1-5E79-234B-FC84DBA1D794}"/>
              </a:ext>
            </a:extLst>
          </p:cNvPr>
          <p:cNvSpPr>
            <a:spLocks noGrp="1"/>
          </p:cNvSpPr>
          <p:nvPr>
            <p:ph type="body" sz="quarter" idx="10"/>
          </p:nvPr>
        </p:nvSpPr>
        <p:spPr/>
        <p:txBody>
          <a:bodyPr/>
          <a:lstStyle/>
          <a:p>
            <a:r>
              <a:rPr lang="da-DK" dirty="0"/>
              <a:t>Diagram</a:t>
            </a:r>
          </a:p>
        </p:txBody>
      </p:sp>
      <p:pic>
        <p:nvPicPr>
          <p:cNvPr id="6" name="Pladsholder til indhold 5" descr="Et billede, der indeholder tekst, skærmbillede, Font/skrifttype, design&#10;&#10;Automatisk genereret beskrivelse">
            <a:extLst>
              <a:ext uri="{FF2B5EF4-FFF2-40B4-BE49-F238E27FC236}">
                <a16:creationId xmlns:a16="http://schemas.microsoft.com/office/drawing/2014/main" id="{C4C2C6E8-5976-5480-33E6-69C44ADADACE}"/>
              </a:ext>
            </a:extLst>
          </p:cNvPr>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758757" y="1198562"/>
            <a:ext cx="10321047" cy="5162910"/>
          </a:xfrm>
        </p:spPr>
      </p:pic>
      <p:sp>
        <p:nvSpPr>
          <p:cNvPr id="4" name="Titel 3">
            <a:extLst>
              <a:ext uri="{FF2B5EF4-FFF2-40B4-BE49-F238E27FC236}">
                <a16:creationId xmlns:a16="http://schemas.microsoft.com/office/drawing/2014/main" id="{8FB67742-AC7B-4C1E-AB43-C5AE79B6D090}"/>
              </a:ext>
            </a:extLst>
          </p:cNvPr>
          <p:cNvSpPr>
            <a:spLocks noGrp="1"/>
          </p:cNvSpPr>
          <p:nvPr>
            <p:ph type="title"/>
          </p:nvPr>
        </p:nvSpPr>
        <p:spPr/>
        <p:txBody>
          <a:bodyPr/>
          <a:lstStyle/>
          <a:p>
            <a:r>
              <a:rPr lang="da-DK" dirty="0"/>
              <a:t>Ældre Sagen Greve</a:t>
            </a:r>
          </a:p>
        </p:txBody>
      </p:sp>
    </p:spTree>
    <p:extLst>
      <p:ext uri="{BB962C8B-B14F-4D97-AF65-F5344CB8AC3E}">
        <p14:creationId xmlns:p14="http://schemas.microsoft.com/office/powerpoint/2010/main" val="171641709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2454B4A6-BA51-3F7B-94FC-54B92BB53A8B}"/>
              </a:ext>
            </a:extLst>
          </p:cNvPr>
          <p:cNvSpPr>
            <a:spLocks noGrp="1"/>
          </p:cNvSpPr>
          <p:nvPr>
            <p:ph type="body" sz="quarter" idx="10"/>
          </p:nvPr>
        </p:nvSpPr>
        <p:spPr/>
        <p:txBody>
          <a:bodyPr/>
          <a:lstStyle/>
          <a:p>
            <a:r>
              <a:rPr lang="da-DK" dirty="0"/>
              <a:t>Aktiviteter</a:t>
            </a:r>
          </a:p>
        </p:txBody>
      </p:sp>
      <p:sp>
        <p:nvSpPr>
          <p:cNvPr id="3" name="Pladsholder til tekst 2">
            <a:extLst>
              <a:ext uri="{FF2B5EF4-FFF2-40B4-BE49-F238E27FC236}">
                <a16:creationId xmlns:a16="http://schemas.microsoft.com/office/drawing/2014/main" id="{6BD32524-A782-04C7-09B4-89DAD032E03E}"/>
              </a:ext>
            </a:extLst>
          </p:cNvPr>
          <p:cNvSpPr>
            <a:spLocks noGrp="1"/>
          </p:cNvSpPr>
          <p:nvPr>
            <p:ph type="body" sz="quarter" idx="11"/>
          </p:nvPr>
        </p:nvSpPr>
        <p:spPr/>
        <p:txBody>
          <a:bodyPr/>
          <a:lstStyle/>
          <a:p>
            <a:r>
              <a:rPr lang="da-DK" dirty="0"/>
              <a:t>Ældre Sagen Greve</a:t>
            </a:r>
          </a:p>
        </p:txBody>
      </p:sp>
      <p:sp>
        <p:nvSpPr>
          <p:cNvPr id="4" name="Pladsholder til indhold 3">
            <a:extLst>
              <a:ext uri="{FF2B5EF4-FFF2-40B4-BE49-F238E27FC236}">
                <a16:creationId xmlns:a16="http://schemas.microsoft.com/office/drawing/2014/main" id="{F2AA3754-7C05-B171-F437-BF70328A16A3}"/>
              </a:ext>
            </a:extLst>
          </p:cNvPr>
          <p:cNvSpPr>
            <a:spLocks noGrp="1"/>
          </p:cNvSpPr>
          <p:nvPr>
            <p:ph sz="quarter" idx="12"/>
          </p:nvPr>
        </p:nvSpPr>
        <p:spPr>
          <a:xfrm>
            <a:off x="634654" y="1738132"/>
            <a:ext cx="10708217" cy="4818311"/>
          </a:xfrm>
        </p:spPr>
        <p:txBody>
          <a:bodyPr>
            <a:noAutofit/>
          </a:bodyPr>
          <a:lstStyle/>
          <a:p>
            <a:pPr marL="0" indent="0">
              <a:buNone/>
            </a:pPr>
            <a:r>
              <a:rPr lang="da-DK" sz="2800" dirty="0">
                <a:latin typeface="+mj-lt"/>
              </a:rPr>
              <a:t>Demenscafé	- IT-Caféer - Golf Senior – Stavgang -	Duo Cykling – Billard - Reparations Café - Bridge	- Seniormusikanterne - Træ- og metalsløjd - Onsdags </a:t>
            </a:r>
            <a:r>
              <a:rPr lang="da-DK" sz="2800" dirty="0" err="1">
                <a:latin typeface="+mj-lt"/>
              </a:rPr>
              <a:t>HyggeCafé</a:t>
            </a:r>
            <a:r>
              <a:rPr lang="da-DK" sz="2800" dirty="0">
                <a:latin typeface="+mj-lt"/>
              </a:rPr>
              <a:t> i Tune - Badminton for seniorer - Jazz/Swing Samspil - Madlavning for Grever – Patchwork - Præmiewhist i Tune - </a:t>
            </a:r>
            <a:r>
              <a:rPr lang="da-DK" sz="2800" dirty="0" err="1">
                <a:latin typeface="+mj-lt"/>
              </a:rPr>
              <a:t>SuperBanko</a:t>
            </a:r>
            <a:r>
              <a:rPr lang="da-DK" sz="2800" dirty="0">
                <a:latin typeface="+mj-lt"/>
              </a:rPr>
              <a:t>	- Gymnastik – Ældre Sagen i Greves Underholdningsorkester - IT-undervisning</a:t>
            </a:r>
          </a:p>
          <a:p>
            <a:pPr marL="0" indent="0">
              <a:buNone/>
            </a:pPr>
            <a:r>
              <a:rPr lang="da-DK" sz="2800" dirty="0">
                <a:latin typeface="+mj-lt"/>
              </a:rPr>
              <a:t>Besøgsven – Bisidder &amp; Seniorvejledning – Spisevenner - Tryghedsopkald</a:t>
            </a:r>
          </a:p>
          <a:p>
            <a:pPr marL="0" indent="0">
              <a:buNone/>
            </a:pPr>
            <a:r>
              <a:rPr lang="da-DK" sz="2800" dirty="0">
                <a:latin typeface="+mj-lt"/>
              </a:rPr>
              <a:t>Spise sammen ude - IT-hjælp hjemme - Hjælpende hænder - Rejser &amp; ture</a:t>
            </a:r>
          </a:p>
        </p:txBody>
      </p:sp>
    </p:spTree>
    <p:extLst>
      <p:ext uri="{BB962C8B-B14F-4D97-AF65-F5344CB8AC3E}">
        <p14:creationId xmlns:p14="http://schemas.microsoft.com/office/powerpoint/2010/main" val="37363351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B0BA4361-2011-1187-AC03-77FCA5C47399}"/>
              </a:ext>
            </a:extLst>
          </p:cNvPr>
          <p:cNvSpPr>
            <a:spLocks noGrp="1"/>
          </p:cNvSpPr>
          <p:nvPr>
            <p:ph type="body" sz="quarter" idx="10"/>
          </p:nvPr>
        </p:nvSpPr>
        <p:spPr/>
        <p:txBody>
          <a:bodyPr/>
          <a:lstStyle/>
          <a:p>
            <a:r>
              <a:rPr lang="da-DK" dirty="0"/>
              <a:t>Frivillige</a:t>
            </a:r>
          </a:p>
        </p:txBody>
      </p:sp>
      <p:sp>
        <p:nvSpPr>
          <p:cNvPr id="3" name="Pladsholder til tekst 2">
            <a:extLst>
              <a:ext uri="{FF2B5EF4-FFF2-40B4-BE49-F238E27FC236}">
                <a16:creationId xmlns:a16="http://schemas.microsoft.com/office/drawing/2014/main" id="{6CA9A494-94EB-3003-5BE1-92B81432E0BF}"/>
              </a:ext>
            </a:extLst>
          </p:cNvPr>
          <p:cNvSpPr>
            <a:spLocks noGrp="1"/>
          </p:cNvSpPr>
          <p:nvPr>
            <p:ph type="body" sz="quarter" idx="11"/>
          </p:nvPr>
        </p:nvSpPr>
        <p:spPr/>
        <p:txBody>
          <a:bodyPr/>
          <a:lstStyle/>
          <a:p>
            <a:r>
              <a:rPr lang="da-DK" dirty="0"/>
              <a:t>Ældre Sagen Greve</a:t>
            </a:r>
          </a:p>
        </p:txBody>
      </p:sp>
      <p:sp>
        <p:nvSpPr>
          <p:cNvPr id="4" name="Pladsholder til indhold 3">
            <a:extLst>
              <a:ext uri="{FF2B5EF4-FFF2-40B4-BE49-F238E27FC236}">
                <a16:creationId xmlns:a16="http://schemas.microsoft.com/office/drawing/2014/main" id="{D86CE9CC-2919-8C53-F45C-6115F548C6BE}"/>
              </a:ext>
            </a:extLst>
          </p:cNvPr>
          <p:cNvSpPr>
            <a:spLocks noGrp="1"/>
          </p:cNvSpPr>
          <p:nvPr>
            <p:ph sz="quarter" idx="12"/>
          </p:nvPr>
        </p:nvSpPr>
        <p:spPr>
          <a:xfrm>
            <a:off x="1016063" y="1875119"/>
            <a:ext cx="8769963" cy="4340411"/>
          </a:xfrm>
        </p:spPr>
        <p:txBody>
          <a:bodyPr/>
          <a:lstStyle/>
          <a:p>
            <a:r>
              <a:rPr lang="da-DK" sz="2800" dirty="0"/>
              <a:t>Vi er mere end </a:t>
            </a:r>
            <a:r>
              <a:rPr lang="da-DK" sz="2800" b="1" dirty="0"/>
              <a:t>10.500</a:t>
            </a:r>
            <a:r>
              <a:rPr lang="da-DK" sz="2800" dirty="0"/>
              <a:t> medlemmer </a:t>
            </a:r>
          </a:p>
          <a:p>
            <a:r>
              <a:rPr lang="da-DK" sz="2800" dirty="0"/>
              <a:t>Vi er mere end 210 frivillige</a:t>
            </a:r>
          </a:p>
          <a:p>
            <a:r>
              <a:rPr lang="da-DK" sz="2800" dirty="0"/>
              <a:t>Vi har aktiviteter i hele kommunen</a:t>
            </a:r>
          </a:p>
          <a:p>
            <a:r>
              <a:rPr lang="da-DK" sz="2800" dirty="0"/>
              <a:t>Vi samarbejder med kommunen, plejehjemmene, Seniorrådet, Kirkerne og mange flere</a:t>
            </a:r>
          </a:p>
          <a:p>
            <a:r>
              <a:rPr lang="da-DK" sz="2800" dirty="0"/>
              <a:t>Vi er medlem i </a:t>
            </a:r>
            <a:r>
              <a:rPr lang="da-DK" sz="2800" dirty="0" err="1"/>
              <a:t>FrivilligCenterGreve</a:t>
            </a:r>
            <a:endParaRPr lang="da-DK" sz="2800" dirty="0"/>
          </a:p>
          <a:p>
            <a:endParaRPr lang="da-DK" dirty="0"/>
          </a:p>
          <a:p>
            <a:endParaRPr lang="da-DK" dirty="0"/>
          </a:p>
        </p:txBody>
      </p:sp>
    </p:spTree>
    <p:extLst>
      <p:ext uri="{BB962C8B-B14F-4D97-AF65-F5344CB8AC3E}">
        <p14:creationId xmlns:p14="http://schemas.microsoft.com/office/powerpoint/2010/main" val="325368180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998" t="25568" r="27167" b="10378"/>
          <a:stretch/>
        </p:blipFill>
        <p:spPr bwMode="auto">
          <a:xfrm>
            <a:off x="340469" y="1399957"/>
            <a:ext cx="2645923" cy="2384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ladsholder til tekst 2"/>
          <p:cNvSpPr>
            <a:spLocks noGrp="1"/>
          </p:cNvSpPr>
          <p:nvPr>
            <p:ph type="body" sz="quarter" idx="11"/>
          </p:nvPr>
        </p:nvSpPr>
        <p:spPr/>
        <p:txBody>
          <a:bodyPr>
            <a:normAutofit fontScale="77500" lnSpcReduction="20000"/>
          </a:bodyPr>
          <a:lstStyle/>
          <a:p>
            <a:endParaRPr lang="da-DK" dirty="0"/>
          </a:p>
          <a:p>
            <a:r>
              <a:rPr lang="da-DK" dirty="0"/>
              <a:t>Grundsyn på frivillighed</a:t>
            </a:r>
          </a:p>
          <a:p>
            <a:endParaRPr lang="da-DK" dirty="0"/>
          </a:p>
        </p:txBody>
      </p:sp>
      <p:sp>
        <p:nvSpPr>
          <p:cNvPr id="4" name="Pladsholder til indhold 3"/>
          <p:cNvSpPr>
            <a:spLocks noGrp="1"/>
          </p:cNvSpPr>
          <p:nvPr>
            <p:ph sz="quarter" idx="12"/>
          </p:nvPr>
        </p:nvSpPr>
        <p:spPr>
          <a:xfrm>
            <a:off x="2655652" y="1973890"/>
            <a:ext cx="9348171" cy="4456093"/>
          </a:xfrm>
        </p:spPr>
        <p:txBody>
          <a:bodyPr>
            <a:normAutofit fontScale="77500" lnSpcReduction="20000"/>
          </a:bodyPr>
          <a:lstStyle/>
          <a:p>
            <a:r>
              <a:rPr lang="da-DK" sz="3300" dirty="0"/>
              <a:t>en frivillig er en person, der af egen fri vilje har påtaget sig opgaver – ulønnet og uden for sin egen familie i en organiseret sammenhæng</a:t>
            </a:r>
          </a:p>
          <a:p>
            <a:r>
              <a:rPr lang="da-DK" sz="3300" dirty="0"/>
              <a:t>en frivillig kan ikke pålægges, men påtage sig opgaver</a:t>
            </a:r>
          </a:p>
          <a:p>
            <a:r>
              <a:rPr lang="da-DK" sz="3300" dirty="0">
                <a:cs typeface="Arial" pitchFamily="34" charset="0"/>
              </a:rPr>
              <a:t>en frivillig skal vide, hvad der forventes af en i forhold til den opgave, man har påtaget sig</a:t>
            </a:r>
          </a:p>
          <a:p>
            <a:r>
              <a:rPr lang="da-DK" sz="3600" dirty="0"/>
              <a:t>en frivillig mødes med både anerkendelse og forventninger</a:t>
            </a:r>
          </a:p>
          <a:p>
            <a:r>
              <a:rPr lang="da-DK" sz="3600" dirty="0"/>
              <a:t>en frivillig modtager instruktion, vejledning og støtte i arbejdet</a:t>
            </a:r>
          </a:p>
          <a:p>
            <a:r>
              <a:rPr lang="da-DK" sz="3600" dirty="0"/>
              <a:t>en frivillig får mulighed for personlig og faglig udvikling</a:t>
            </a:r>
          </a:p>
          <a:p>
            <a:endParaRPr lang="da-DK" sz="3300" dirty="0">
              <a:cs typeface="Arial" pitchFamily="34" charset="0"/>
            </a:endParaRPr>
          </a:p>
          <a:p>
            <a:endParaRPr lang="da-DK" sz="3600" dirty="0"/>
          </a:p>
          <a:p>
            <a:endParaRPr lang="da-DK" sz="3600" dirty="0"/>
          </a:p>
          <a:p>
            <a:endParaRPr lang="da-DK" sz="3600" dirty="0"/>
          </a:p>
        </p:txBody>
      </p:sp>
    </p:spTree>
    <p:extLst>
      <p:ext uri="{BB962C8B-B14F-4D97-AF65-F5344CB8AC3E}">
        <p14:creationId xmlns:p14="http://schemas.microsoft.com/office/powerpoint/2010/main" val="3258880581"/>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05D214EF-7EFB-5417-EF4B-9820B63418D1}"/>
              </a:ext>
            </a:extLst>
          </p:cNvPr>
          <p:cNvSpPr>
            <a:spLocks noGrp="1"/>
          </p:cNvSpPr>
          <p:nvPr>
            <p:ph sz="quarter" idx="13"/>
          </p:nvPr>
        </p:nvSpPr>
        <p:spPr>
          <a:xfrm>
            <a:off x="5455394" y="1402298"/>
            <a:ext cx="6258535" cy="4627566"/>
          </a:xfrm>
        </p:spPr>
        <p:txBody>
          <a:bodyPr anchor="t">
            <a:normAutofit fontScale="92500" lnSpcReduction="20000"/>
          </a:bodyPr>
          <a:lstStyle/>
          <a:p>
            <a:endParaRPr lang="da-DK" sz="2400" dirty="0"/>
          </a:p>
          <a:p>
            <a:endParaRPr lang="da-DK" sz="2400" dirty="0"/>
          </a:p>
          <a:p>
            <a:endParaRPr lang="da-DK" sz="2400" dirty="0"/>
          </a:p>
          <a:p>
            <a:r>
              <a:rPr lang="da-DK" sz="2400" dirty="0"/>
              <a:t>Vi har brug for frivillige hjælpere både til eksisterende aktiviteter, MEN også til at sætte  nye aktiviteter i gang!</a:t>
            </a:r>
          </a:p>
          <a:p>
            <a:r>
              <a:rPr lang="da-DK" sz="2400" dirty="0"/>
              <a:t>Vi håber at én eller flere af jer har lyst til at gøre en forskel for de ældre i Greve.</a:t>
            </a:r>
            <a:br>
              <a:rPr lang="da-DK" sz="2400" dirty="0"/>
            </a:br>
            <a:br>
              <a:rPr lang="da-DK" sz="2400" dirty="0"/>
            </a:br>
            <a:r>
              <a:rPr lang="da-DK" sz="2400" dirty="0"/>
              <a:t>Kontakt vores frivilligkoordinator, Klaus S.T. Pedersen, tlf. 4053 5436</a:t>
            </a:r>
          </a:p>
          <a:p>
            <a:endParaRPr lang="da-DK" sz="2400" dirty="0"/>
          </a:p>
          <a:p>
            <a:r>
              <a:rPr lang="da-DK" sz="2400" dirty="0"/>
              <a:t>Tak for i dag!</a:t>
            </a:r>
          </a:p>
        </p:txBody>
      </p:sp>
      <p:pic>
        <p:nvPicPr>
          <p:cNvPr id="6" name="Pladsholder til indhold 5" descr="Et billede, der indeholder Ansigt, tøj, menneske, fedora&#10;&#10;Automatisk genereret beskrivelse">
            <a:extLst>
              <a:ext uri="{FF2B5EF4-FFF2-40B4-BE49-F238E27FC236}">
                <a16:creationId xmlns:a16="http://schemas.microsoft.com/office/drawing/2014/main" id="{20822095-5984-CF16-5EEB-008E69D0CFE3}"/>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tretch>
            <a:fillRect/>
          </a:stretch>
        </p:blipFill>
        <p:spPr>
          <a:xfrm>
            <a:off x="1465750" y="1919883"/>
            <a:ext cx="3546871" cy="4286250"/>
          </a:xfrm>
          <a:noFill/>
        </p:spPr>
      </p:pic>
      <p:sp>
        <p:nvSpPr>
          <p:cNvPr id="3" name="Pladsholder til tekst 2">
            <a:extLst>
              <a:ext uri="{FF2B5EF4-FFF2-40B4-BE49-F238E27FC236}">
                <a16:creationId xmlns:a16="http://schemas.microsoft.com/office/drawing/2014/main" id="{8A118769-5073-854B-634E-5D610749BC83}"/>
              </a:ext>
            </a:extLst>
          </p:cNvPr>
          <p:cNvSpPr>
            <a:spLocks noGrp="1"/>
          </p:cNvSpPr>
          <p:nvPr>
            <p:ph type="title"/>
          </p:nvPr>
        </p:nvSpPr>
        <p:spPr>
          <a:xfrm>
            <a:off x="484256" y="234619"/>
            <a:ext cx="11229673" cy="972000"/>
          </a:xfrm>
        </p:spPr>
        <p:txBody>
          <a:bodyPr anchor="ctr">
            <a:normAutofit/>
          </a:bodyPr>
          <a:lstStyle/>
          <a:p>
            <a:r>
              <a:rPr lang="da-DK" dirty="0"/>
              <a:t>Ældre Sagen Greve</a:t>
            </a:r>
          </a:p>
        </p:txBody>
      </p:sp>
      <p:sp>
        <p:nvSpPr>
          <p:cNvPr id="4" name="Pil: venstre 3">
            <a:extLst>
              <a:ext uri="{FF2B5EF4-FFF2-40B4-BE49-F238E27FC236}">
                <a16:creationId xmlns:a16="http://schemas.microsoft.com/office/drawing/2014/main" id="{E72F7717-2F35-8353-3E0A-98B9D9931C99}"/>
              </a:ext>
            </a:extLst>
          </p:cNvPr>
          <p:cNvSpPr/>
          <p:nvPr/>
        </p:nvSpPr>
        <p:spPr>
          <a:xfrm rot="1026696">
            <a:off x="4502989" y="4080294"/>
            <a:ext cx="905773" cy="526212"/>
          </a:xfrm>
          <a:prstGeom prst="leftArrow">
            <a:avLst/>
          </a:prstGeom>
          <a:solidFill>
            <a:schemeClr val="accent1"/>
          </a:solidFill>
          <a:ln w="12700" cap="flat">
            <a:solidFill>
              <a:schemeClr val="accent1">
                <a:lumMod val="5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p>
            <a:pPr marL="0" marR="0" indent="0" algn="ctr" defTabSz="584200" rtl="0" fontAlgn="auto" latinLnBrk="1" hangingPunct="0">
              <a:lnSpc>
                <a:spcPct val="100000"/>
              </a:lnSpc>
              <a:spcBef>
                <a:spcPts val="0"/>
              </a:spcBef>
              <a:spcAft>
                <a:spcPts val="0"/>
              </a:spcAft>
              <a:buClrTx/>
              <a:buSzTx/>
              <a:buFontTx/>
              <a:buNone/>
              <a:tabLst/>
            </a:pPr>
            <a:endParaRPr kumimoji="0" lang="da-DK" sz="2700" b="0" i="0" u="none" strike="noStrike" cap="none" spc="0" normalizeH="0" baseline="0" dirty="0" err="1">
              <a:solidFill>
                <a:srgbClr val="FFFFFF"/>
              </a:solidFill>
              <a:uFillTx/>
              <a:ea typeface="Palatino"/>
              <a:cs typeface="Palatino"/>
              <a:sym typeface="Palatino"/>
            </a:endParaRPr>
          </a:p>
        </p:txBody>
      </p:sp>
    </p:spTree>
    <p:extLst>
      <p:ext uri="{BB962C8B-B14F-4D97-AF65-F5344CB8AC3E}">
        <p14:creationId xmlns:p14="http://schemas.microsoft.com/office/powerpoint/2010/main" val="418818168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922369" y="100886"/>
            <a:ext cx="8810915" cy="6555151"/>
          </a:xfrm>
          <a:prstGeom prst="rect">
            <a:avLst/>
          </a:prstGeom>
          <a:noFill/>
          <a:ln>
            <a:noFill/>
          </a:ln>
        </p:spPr>
      </p:pic>
      <p:pic>
        <p:nvPicPr>
          <p:cNvPr id="64" name="ÆS_logo_POS_CMYK.pdf"/>
          <p:cNvPicPr/>
          <p:nvPr/>
        </p:nvPicPr>
        <p:blipFill>
          <a:blip r:embed="rId4" cstate="email">
            <a:extLst>
              <a:ext uri="{28A0092B-C50C-407E-A947-70E740481C1C}">
                <a14:useLocalDpi xmlns:a14="http://schemas.microsoft.com/office/drawing/2010/main"/>
              </a:ext>
            </a:extLst>
          </a:blip>
          <a:stretch>
            <a:fillRect/>
          </a:stretch>
        </p:blipFill>
        <p:spPr>
          <a:xfrm>
            <a:off x="9905152" y="6426236"/>
            <a:ext cx="1809125" cy="233263"/>
          </a:xfrm>
          <a:prstGeom prst="rect">
            <a:avLst/>
          </a:prstGeom>
          <a:ln w="12700">
            <a:miter lim="400000"/>
          </a:ln>
        </p:spPr>
      </p:pic>
      <p:cxnSp>
        <p:nvCxnSpPr>
          <p:cNvPr id="7" name="Lige forbindelse 6"/>
          <p:cNvCxnSpPr/>
          <p:nvPr/>
        </p:nvCxnSpPr>
        <p:spPr bwMode="auto">
          <a:xfrm flipH="1">
            <a:off x="902563" y="2082494"/>
            <a:ext cx="388082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 name="Tekstfelt 7"/>
          <p:cNvSpPr txBox="1"/>
          <p:nvPr/>
        </p:nvSpPr>
        <p:spPr>
          <a:xfrm>
            <a:off x="769469" y="1714763"/>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1 kommuner</a:t>
            </a:r>
          </a:p>
          <a:p>
            <a:pPr defTabSz="457011">
              <a:lnSpc>
                <a:spcPct val="150000"/>
              </a:lnSpc>
            </a:pPr>
            <a:r>
              <a:rPr lang="da-DK" sz="1200" dirty="0">
                <a:solidFill>
                  <a:srgbClr val="000000"/>
                </a:solidFill>
              </a:rPr>
              <a:t>30 lokalafdelinger</a:t>
            </a:r>
          </a:p>
        </p:txBody>
      </p:sp>
      <p:cxnSp>
        <p:nvCxnSpPr>
          <p:cNvPr id="40" name="Lige forbindelse 39"/>
          <p:cNvCxnSpPr/>
          <p:nvPr/>
        </p:nvCxnSpPr>
        <p:spPr bwMode="auto">
          <a:xfrm flipH="1">
            <a:off x="877843" y="3377497"/>
            <a:ext cx="272049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1" name="Tekstfelt 40"/>
          <p:cNvSpPr txBox="1"/>
          <p:nvPr/>
        </p:nvSpPr>
        <p:spPr>
          <a:xfrm>
            <a:off x="769469" y="3009857"/>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8 kommuner</a:t>
            </a:r>
          </a:p>
          <a:p>
            <a:pPr defTabSz="457011">
              <a:lnSpc>
                <a:spcPct val="150000"/>
              </a:lnSpc>
            </a:pPr>
            <a:r>
              <a:rPr lang="da-DK" sz="1200" dirty="0">
                <a:solidFill>
                  <a:srgbClr val="000000"/>
                </a:solidFill>
              </a:rPr>
              <a:t>21 lokalafdelinger</a:t>
            </a:r>
          </a:p>
        </p:txBody>
      </p:sp>
      <p:cxnSp>
        <p:nvCxnSpPr>
          <p:cNvPr id="42" name="Lige forbindelse 41"/>
          <p:cNvCxnSpPr/>
          <p:nvPr/>
        </p:nvCxnSpPr>
        <p:spPr bwMode="auto">
          <a:xfrm flipH="1">
            <a:off x="865483" y="4519990"/>
            <a:ext cx="28916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3" name="Tekstfelt 42"/>
          <p:cNvSpPr txBox="1"/>
          <p:nvPr/>
        </p:nvSpPr>
        <p:spPr>
          <a:xfrm>
            <a:off x="769469" y="4152350"/>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8 kommuner</a:t>
            </a:r>
          </a:p>
          <a:p>
            <a:pPr defTabSz="457011">
              <a:lnSpc>
                <a:spcPct val="150000"/>
              </a:lnSpc>
            </a:pPr>
            <a:r>
              <a:rPr lang="da-DK" sz="1200" dirty="0">
                <a:solidFill>
                  <a:srgbClr val="000000"/>
                </a:solidFill>
              </a:rPr>
              <a:t>19 lokalafdelinger</a:t>
            </a:r>
          </a:p>
        </p:txBody>
      </p:sp>
      <p:cxnSp>
        <p:nvCxnSpPr>
          <p:cNvPr id="44" name="Lige forbindelse 43"/>
          <p:cNvCxnSpPr/>
          <p:nvPr/>
        </p:nvCxnSpPr>
        <p:spPr bwMode="auto">
          <a:xfrm flipH="1">
            <a:off x="865480" y="5597836"/>
            <a:ext cx="308210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5" name="Tekstfelt 44"/>
          <p:cNvSpPr txBox="1"/>
          <p:nvPr/>
        </p:nvSpPr>
        <p:spPr>
          <a:xfrm>
            <a:off x="769469" y="5230196"/>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4 kommuner</a:t>
            </a:r>
          </a:p>
          <a:p>
            <a:pPr defTabSz="457011">
              <a:lnSpc>
                <a:spcPct val="150000"/>
              </a:lnSpc>
            </a:pPr>
            <a:r>
              <a:rPr lang="da-DK" sz="1200" dirty="0">
                <a:solidFill>
                  <a:srgbClr val="000000"/>
                </a:solidFill>
              </a:rPr>
              <a:t>16 lokalafdelinger</a:t>
            </a:r>
          </a:p>
        </p:txBody>
      </p:sp>
      <p:cxnSp>
        <p:nvCxnSpPr>
          <p:cNvPr id="46" name="Lige forbindelse 45"/>
          <p:cNvCxnSpPr/>
          <p:nvPr/>
        </p:nvCxnSpPr>
        <p:spPr bwMode="auto">
          <a:xfrm flipH="1">
            <a:off x="7047244" y="2754064"/>
            <a:ext cx="182420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7" name="Tekstfelt 46"/>
          <p:cNvSpPr txBox="1"/>
          <p:nvPr/>
        </p:nvSpPr>
        <p:spPr>
          <a:xfrm>
            <a:off x="6951295" y="2386424"/>
            <a:ext cx="19599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1 kommuner</a:t>
            </a:r>
          </a:p>
          <a:p>
            <a:pPr defTabSz="457011">
              <a:lnSpc>
                <a:spcPct val="150000"/>
              </a:lnSpc>
            </a:pPr>
            <a:r>
              <a:rPr lang="da-DK" sz="1200" dirty="0">
                <a:solidFill>
                  <a:srgbClr val="000000"/>
                </a:solidFill>
              </a:rPr>
              <a:t>30 lokalafdelinger</a:t>
            </a:r>
          </a:p>
        </p:txBody>
      </p:sp>
      <p:cxnSp>
        <p:nvCxnSpPr>
          <p:cNvPr id="48" name="Lige forbindelse 47"/>
          <p:cNvCxnSpPr/>
          <p:nvPr/>
        </p:nvCxnSpPr>
        <p:spPr bwMode="auto">
          <a:xfrm flipH="1">
            <a:off x="9441818" y="3397861"/>
            <a:ext cx="196002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49" name="Tekstfelt 48"/>
          <p:cNvSpPr txBox="1"/>
          <p:nvPr/>
        </p:nvSpPr>
        <p:spPr>
          <a:xfrm>
            <a:off x="9502533" y="3030221"/>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2 kommuner</a:t>
            </a:r>
          </a:p>
          <a:p>
            <a:pPr defTabSz="457011">
              <a:lnSpc>
                <a:spcPct val="150000"/>
              </a:lnSpc>
            </a:pPr>
            <a:r>
              <a:rPr lang="da-DK" sz="1200" dirty="0">
                <a:solidFill>
                  <a:srgbClr val="000000"/>
                </a:solidFill>
              </a:rPr>
              <a:t>20 lokalafdelinger</a:t>
            </a:r>
          </a:p>
        </p:txBody>
      </p:sp>
      <p:cxnSp>
        <p:nvCxnSpPr>
          <p:cNvPr id="50" name="Lige forbindelse 49"/>
          <p:cNvCxnSpPr/>
          <p:nvPr/>
        </p:nvCxnSpPr>
        <p:spPr bwMode="auto">
          <a:xfrm flipH="1">
            <a:off x="8997244" y="4341306"/>
            <a:ext cx="240434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Tekstfelt 50"/>
          <p:cNvSpPr txBox="1"/>
          <p:nvPr/>
        </p:nvSpPr>
        <p:spPr>
          <a:xfrm>
            <a:off x="9502594" y="3973666"/>
            <a:ext cx="187102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7 kommuner</a:t>
            </a:r>
          </a:p>
          <a:p>
            <a:pPr defTabSz="457011">
              <a:lnSpc>
                <a:spcPct val="150000"/>
              </a:lnSpc>
            </a:pPr>
            <a:r>
              <a:rPr lang="da-DK" sz="1200" dirty="0">
                <a:solidFill>
                  <a:srgbClr val="000000"/>
                </a:solidFill>
              </a:rPr>
              <a:t>21 lokalafdelinger</a:t>
            </a:r>
          </a:p>
        </p:txBody>
      </p:sp>
      <p:cxnSp>
        <p:nvCxnSpPr>
          <p:cNvPr id="52" name="Lige forbindelse 51"/>
          <p:cNvCxnSpPr/>
          <p:nvPr/>
        </p:nvCxnSpPr>
        <p:spPr bwMode="auto">
          <a:xfrm flipH="1">
            <a:off x="9262533" y="6007041"/>
            <a:ext cx="213905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3" name="Tekstfelt 52"/>
          <p:cNvSpPr txBox="1"/>
          <p:nvPr/>
        </p:nvSpPr>
        <p:spPr>
          <a:xfrm>
            <a:off x="9502593" y="5639401"/>
            <a:ext cx="1899247"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4 kommuner</a:t>
            </a:r>
          </a:p>
          <a:p>
            <a:pPr defTabSz="457011">
              <a:lnSpc>
                <a:spcPct val="150000"/>
              </a:lnSpc>
            </a:pPr>
            <a:r>
              <a:rPr lang="da-DK" sz="1200" dirty="0">
                <a:solidFill>
                  <a:srgbClr val="000000"/>
                </a:solidFill>
              </a:rPr>
              <a:t>14 lokalafdelinger</a:t>
            </a:r>
          </a:p>
        </p:txBody>
      </p:sp>
      <p:cxnSp>
        <p:nvCxnSpPr>
          <p:cNvPr id="54" name="Lige forbindelse 53"/>
          <p:cNvCxnSpPr/>
          <p:nvPr/>
        </p:nvCxnSpPr>
        <p:spPr bwMode="auto">
          <a:xfrm flipH="1">
            <a:off x="4838997" y="5947940"/>
            <a:ext cx="1824203"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5" name="Tekstfelt 54"/>
          <p:cNvSpPr txBox="1"/>
          <p:nvPr/>
        </p:nvSpPr>
        <p:spPr>
          <a:xfrm>
            <a:off x="4742989" y="5580300"/>
            <a:ext cx="2112235"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0 kommuner</a:t>
            </a:r>
          </a:p>
          <a:p>
            <a:pPr defTabSz="457011">
              <a:lnSpc>
                <a:spcPct val="150000"/>
              </a:lnSpc>
            </a:pPr>
            <a:r>
              <a:rPr lang="da-DK" sz="1200" dirty="0">
                <a:solidFill>
                  <a:srgbClr val="000000"/>
                </a:solidFill>
              </a:rPr>
              <a:t>15 lokalafdelinger</a:t>
            </a:r>
          </a:p>
        </p:txBody>
      </p:sp>
      <p:cxnSp>
        <p:nvCxnSpPr>
          <p:cNvPr id="56" name="Lige forbindelse 55"/>
          <p:cNvCxnSpPr/>
          <p:nvPr/>
        </p:nvCxnSpPr>
        <p:spPr bwMode="auto">
          <a:xfrm flipH="1">
            <a:off x="5577417" y="4504358"/>
            <a:ext cx="2000251"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7" name="Tekstfelt 56"/>
          <p:cNvSpPr txBox="1"/>
          <p:nvPr/>
        </p:nvSpPr>
        <p:spPr>
          <a:xfrm>
            <a:off x="5415061" y="4136716"/>
            <a:ext cx="1834523" cy="646331"/>
          </a:xfrm>
          <a:prstGeom prst="rect">
            <a:avLst/>
          </a:prstGeom>
          <a:noFill/>
        </p:spPr>
        <p:txBody>
          <a:bodyPr wrap="square" rtlCol="0" anchor="ctr" anchorCtr="0">
            <a:spAutoFit/>
          </a:bodyPr>
          <a:lstStyle/>
          <a:p>
            <a:pPr defTabSz="457011">
              <a:lnSpc>
                <a:spcPct val="150000"/>
              </a:lnSpc>
            </a:pPr>
            <a:r>
              <a:rPr lang="da-DK" sz="1200" dirty="0">
                <a:solidFill>
                  <a:srgbClr val="000000"/>
                </a:solidFill>
              </a:rPr>
              <a:t>13 kommuner</a:t>
            </a:r>
          </a:p>
          <a:p>
            <a:pPr defTabSz="457011">
              <a:lnSpc>
                <a:spcPct val="150000"/>
              </a:lnSpc>
            </a:pPr>
            <a:r>
              <a:rPr lang="da-DK" sz="1200" dirty="0">
                <a:solidFill>
                  <a:srgbClr val="000000"/>
                </a:solidFill>
              </a:rPr>
              <a:t>29 lokalafdelinger</a:t>
            </a:r>
          </a:p>
        </p:txBody>
      </p:sp>
      <p:cxnSp>
        <p:nvCxnSpPr>
          <p:cNvPr id="15" name="Lige forbindelse 14"/>
          <p:cNvCxnSpPr/>
          <p:nvPr/>
        </p:nvCxnSpPr>
        <p:spPr bwMode="auto">
          <a:xfrm flipH="1" flipV="1">
            <a:off x="8474852" y="5833534"/>
            <a:ext cx="791917" cy="17356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 name="Lige forbindelse 17"/>
          <p:cNvCxnSpPr/>
          <p:nvPr/>
        </p:nvCxnSpPr>
        <p:spPr bwMode="auto">
          <a:xfrm>
            <a:off x="5857320" y="5207000"/>
            <a:ext cx="0" cy="52491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5" name="Lige forbindelse 24"/>
          <p:cNvCxnSpPr/>
          <p:nvPr/>
        </p:nvCxnSpPr>
        <p:spPr bwMode="auto">
          <a:xfrm flipH="1">
            <a:off x="5401733" y="2753513"/>
            <a:ext cx="1645459" cy="54011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36" name="Lige forbindelse 35"/>
          <p:cNvCxnSpPr/>
          <p:nvPr/>
        </p:nvCxnSpPr>
        <p:spPr bwMode="auto">
          <a:xfrm flipH="1">
            <a:off x="8785291" y="3397867"/>
            <a:ext cx="656464" cy="280905"/>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7" name="Tekstfelt 86"/>
          <p:cNvSpPr txBox="1"/>
          <p:nvPr/>
        </p:nvSpPr>
        <p:spPr>
          <a:xfrm>
            <a:off x="6951232" y="536061"/>
            <a:ext cx="4800533" cy="738664"/>
          </a:xfrm>
          <a:prstGeom prst="rect">
            <a:avLst/>
          </a:prstGeom>
          <a:noFill/>
        </p:spPr>
        <p:txBody>
          <a:bodyPr wrap="square" rtlCol="0" anchor="ctr" anchorCtr="0">
            <a:spAutoFit/>
          </a:bodyPr>
          <a:lstStyle/>
          <a:p>
            <a:pPr defTabSz="457011">
              <a:lnSpc>
                <a:spcPct val="150000"/>
              </a:lnSpc>
            </a:pPr>
            <a:r>
              <a:rPr lang="da-DK" sz="1400" dirty="0">
                <a:solidFill>
                  <a:srgbClr val="000000"/>
                </a:solidFill>
              </a:rPr>
              <a:t>98 kommuner, 215 lokalafdelinger, </a:t>
            </a:r>
          </a:p>
          <a:p>
            <a:pPr defTabSz="457011">
              <a:lnSpc>
                <a:spcPct val="150000"/>
              </a:lnSpc>
            </a:pPr>
            <a:r>
              <a:rPr lang="da-DK" sz="1400" b="1" dirty="0">
                <a:solidFill>
                  <a:srgbClr val="000000"/>
                </a:solidFill>
              </a:rPr>
              <a:t>20.000 frivillige</a:t>
            </a:r>
          </a:p>
        </p:txBody>
      </p:sp>
      <p:sp>
        <p:nvSpPr>
          <p:cNvPr id="37" name="Titel 2"/>
          <p:cNvSpPr txBox="1">
            <a:spLocks/>
          </p:cNvSpPr>
          <p:nvPr/>
        </p:nvSpPr>
        <p:spPr>
          <a:xfrm>
            <a:off x="484212" y="329514"/>
            <a:ext cx="4045456" cy="789674"/>
          </a:xfrm>
          <a:prstGeom prst="rect">
            <a:avLst/>
          </a:prstGeom>
        </p:spPr>
        <p:txBody>
          <a:bodyPr/>
          <a:lstStyle>
            <a:lvl1pPr algn="ctr" defTabSz="410751" eaLnBrk="1" hangingPunct="1">
              <a:lnSpc>
                <a:spcPct val="100000"/>
              </a:lnSpc>
              <a:spcBef>
                <a:spcPts val="1125"/>
              </a:spcBef>
              <a:defRPr sz="4000" baseline="0">
                <a:solidFill>
                  <a:schemeClr val="tx2"/>
                </a:solidFill>
                <a:latin typeface="Arial"/>
                <a:ea typeface="Arial"/>
                <a:cs typeface="Arial"/>
                <a:sym typeface="Arial"/>
              </a:defRPr>
            </a:lvl1pPr>
            <a:lvl2pPr indent="160729" algn="ctr" defTabSz="410751" eaLnBrk="1" hangingPunct="1">
              <a:lnSpc>
                <a:spcPct val="90000"/>
              </a:lnSpc>
              <a:spcBef>
                <a:spcPts val="1125"/>
              </a:spcBef>
              <a:defRPr sz="4900">
                <a:solidFill>
                  <a:srgbClr val="B3242A"/>
                </a:solidFill>
                <a:latin typeface="Arial"/>
                <a:ea typeface="Arial"/>
                <a:cs typeface="Arial"/>
                <a:sym typeface="Arial"/>
              </a:defRPr>
            </a:lvl2pPr>
            <a:lvl3pPr indent="321457" algn="ctr" defTabSz="410751" eaLnBrk="1" hangingPunct="1">
              <a:lnSpc>
                <a:spcPct val="90000"/>
              </a:lnSpc>
              <a:spcBef>
                <a:spcPts val="1125"/>
              </a:spcBef>
              <a:defRPr sz="4900">
                <a:solidFill>
                  <a:srgbClr val="B3242A"/>
                </a:solidFill>
                <a:latin typeface="Arial"/>
                <a:ea typeface="Arial"/>
                <a:cs typeface="Arial"/>
                <a:sym typeface="Arial"/>
              </a:defRPr>
            </a:lvl3pPr>
            <a:lvl4pPr indent="482186" algn="ctr" defTabSz="410751" eaLnBrk="1" hangingPunct="1">
              <a:lnSpc>
                <a:spcPct val="90000"/>
              </a:lnSpc>
              <a:spcBef>
                <a:spcPts val="1125"/>
              </a:spcBef>
              <a:defRPr sz="4900">
                <a:solidFill>
                  <a:srgbClr val="B3242A"/>
                </a:solidFill>
                <a:latin typeface="Arial"/>
                <a:ea typeface="Arial"/>
                <a:cs typeface="Arial"/>
                <a:sym typeface="Arial"/>
              </a:defRPr>
            </a:lvl4pPr>
            <a:lvl5pPr indent="642915" algn="ctr" defTabSz="410751" eaLnBrk="1" hangingPunct="1">
              <a:lnSpc>
                <a:spcPct val="90000"/>
              </a:lnSpc>
              <a:spcBef>
                <a:spcPts val="1125"/>
              </a:spcBef>
              <a:defRPr sz="4900">
                <a:solidFill>
                  <a:srgbClr val="B3242A"/>
                </a:solidFill>
                <a:latin typeface="Arial"/>
                <a:ea typeface="Arial"/>
                <a:cs typeface="Arial"/>
                <a:sym typeface="Arial"/>
              </a:defRPr>
            </a:lvl5pPr>
            <a:lvl6pPr indent="803643" algn="ctr" defTabSz="410751" eaLnBrk="1" hangingPunct="1">
              <a:lnSpc>
                <a:spcPct val="90000"/>
              </a:lnSpc>
              <a:spcBef>
                <a:spcPts val="1125"/>
              </a:spcBef>
              <a:defRPr sz="4900">
                <a:solidFill>
                  <a:srgbClr val="B3242A"/>
                </a:solidFill>
                <a:latin typeface="Arial"/>
                <a:ea typeface="Arial"/>
                <a:cs typeface="Arial"/>
                <a:sym typeface="Arial"/>
              </a:defRPr>
            </a:lvl6pPr>
            <a:lvl7pPr indent="964372" algn="ctr" defTabSz="410751" eaLnBrk="1" hangingPunct="1">
              <a:lnSpc>
                <a:spcPct val="90000"/>
              </a:lnSpc>
              <a:spcBef>
                <a:spcPts val="1125"/>
              </a:spcBef>
              <a:defRPr sz="4900">
                <a:solidFill>
                  <a:srgbClr val="B3242A"/>
                </a:solidFill>
                <a:latin typeface="Arial"/>
                <a:ea typeface="Arial"/>
                <a:cs typeface="Arial"/>
                <a:sym typeface="Arial"/>
              </a:defRPr>
            </a:lvl7pPr>
            <a:lvl8pPr indent="1125101" algn="ctr" defTabSz="410751" eaLnBrk="1" hangingPunct="1">
              <a:lnSpc>
                <a:spcPct val="90000"/>
              </a:lnSpc>
              <a:spcBef>
                <a:spcPts val="1125"/>
              </a:spcBef>
              <a:defRPr sz="4900">
                <a:solidFill>
                  <a:srgbClr val="B3242A"/>
                </a:solidFill>
                <a:latin typeface="Arial"/>
                <a:ea typeface="Arial"/>
                <a:cs typeface="Arial"/>
                <a:sym typeface="Arial"/>
              </a:defRPr>
            </a:lvl8pPr>
            <a:lvl9pPr indent="1285829" algn="ctr" defTabSz="410751" eaLnBrk="1" hangingPunct="1">
              <a:lnSpc>
                <a:spcPct val="90000"/>
              </a:lnSpc>
              <a:spcBef>
                <a:spcPts val="1125"/>
              </a:spcBef>
              <a:defRPr sz="4900">
                <a:solidFill>
                  <a:srgbClr val="B3242A"/>
                </a:solidFill>
                <a:latin typeface="Arial"/>
                <a:ea typeface="Arial"/>
                <a:cs typeface="Arial"/>
                <a:sym typeface="Arial"/>
              </a:defRPr>
            </a:lvl9pPr>
          </a:lstStyle>
          <a:p>
            <a:pPr algn="l"/>
            <a:r>
              <a:rPr lang="da-DK">
                <a:solidFill>
                  <a:srgbClr val="A91D1E"/>
                </a:solidFill>
              </a:rPr>
              <a:t>10 Distrikter</a:t>
            </a:r>
            <a:endParaRPr lang="da-DK" dirty="0">
              <a:solidFill>
                <a:srgbClr val="A91D1E"/>
              </a:solidFill>
            </a:endParaRPr>
          </a:p>
        </p:txBody>
      </p:sp>
      <p:cxnSp>
        <p:nvCxnSpPr>
          <p:cNvPr id="5" name="Lige pilforbindelse 4">
            <a:extLst>
              <a:ext uri="{FF2B5EF4-FFF2-40B4-BE49-F238E27FC236}">
                <a16:creationId xmlns:a16="http://schemas.microsoft.com/office/drawing/2014/main" id="{E3CC800B-852F-3C3E-043C-D977B768FB7C}"/>
              </a:ext>
            </a:extLst>
          </p:cNvPr>
          <p:cNvCxnSpPr/>
          <p:nvPr/>
        </p:nvCxnSpPr>
        <p:spPr>
          <a:xfrm flipH="1" flipV="1">
            <a:off x="8620217" y="4514814"/>
            <a:ext cx="731281" cy="194133"/>
          </a:xfrm>
          <a:prstGeom prst="straightConnector1">
            <a:avLst/>
          </a:prstGeom>
          <a:noFill/>
          <a:ln w="25400" cap="flat">
            <a:solidFill>
              <a:srgbClr val="414141"/>
            </a:solidFill>
            <a:prstDash val="solid"/>
            <a:miter lim="400000"/>
            <a:tailEnd type="triangle"/>
          </a:ln>
          <a:effectLst/>
        </p:spPr>
        <p:style>
          <a:lnRef idx="0">
            <a:scrgbClr r="0" g="0" b="0"/>
          </a:lnRef>
          <a:fillRef idx="0">
            <a:scrgbClr r="0" g="0" b="0"/>
          </a:fillRef>
          <a:effectRef idx="0">
            <a:scrgbClr r="0" g="0" b="0"/>
          </a:effectRef>
          <a:fontRef idx="none"/>
        </p:style>
      </p:cxnSp>
      <p:sp>
        <p:nvSpPr>
          <p:cNvPr id="2" name="Tekstfelt 1">
            <a:extLst>
              <a:ext uri="{FF2B5EF4-FFF2-40B4-BE49-F238E27FC236}">
                <a16:creationId xmlns:a16="http://schemas.microsoft.com/office/drawing/2014/main" id="{F550E7E5-8C74-B72C-33FA-E852720C734E}"/>
              </a:ext>
            </a:extLst>
          </p:cNvPr>
          <p:cNvSpPr txBox="1"/>
          <p:nvPr/>
        </p:nvSpPr>
        <p:spPr>
          <a:xfrm>
            <a:off x="9225620" y="4587089"/>
            <a:ext cx="880949" cy="379591"/>
          </a:xfrm>
          <a:prstGeom prst="rect">
            <a:avLst/>
          </a:prstGeom>
          <a:solidFill>
            <a:srgbClr val="FFC000"/>
          </a:solidFill>
          <a:ln w="19050" cap="flat">
            <a:solidFill>
              <a:srgbClr val="C09200"/>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1" hangingPunct="0">
              <a:lnSpc>
                <a:spcPct val="100000"/>
              </a:lnSpc>
              <a:spcBef>
                <a:spcPts val="0"/>
              </a:spcBef>
              <a:spcAft>
                <a:spcPts val="0"/>
              </a:spcAft>
              <a:buClrTx/>
              <a:buSzTx/>
              <a:buFontTx/>
              <a:buNone/>
              <a:tabLst/>
            </a:pPr>
            <a:r>
              <a:rPr kumimoji="0" lang="da-DK" b="0" i="0" u="none" strike="noStrike" cap="none" spc="0" normalizeH="0" baseline="0" dirty="0">
                <a:ln>
                  <a:noFill/>
                </a:ln>
                <a:solidFill>
                  <a:srgbClr val="414141"/>
                </a:solidFill>
                <a:effectLst/>
                <a:uFillTx/>
                <a:latin typeface="+mn-lt"/>
                <a:ea typeface="Palatino"/>
                <a:cs typeface="Palatino"/>
                <a:sym typeface="Palatino"/>
              </a:rPr>
              <a:t>Greve</a:t>
            </a:r>
          </a:p>
        </p:txBody>
      </p:sp>
    </p:spTree>
    <p:extLst>
      <p:ext uri="{BB962C8B-B14F-4D97-AF65-F5344CB8AC3E}">
        <p14:creationId xmlns:p14="http://schemas.microsoft.com/office/powerpoint/2010/main" val="185256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sz="quarter" idx="14"/>
          </p:nvPr>
        </p:nvSpPr>
        <p:spPr>
          <a:xfrm>
            <a:off x="477162" y="1185064"/>
            <a:ext cx="9334447" cy="5438317"/>
          </a:xfrm>
        </p:spPr>
        <p:txBody>
          <a:bodyPr>
            <a:normAutofit lnSpcReduction="10000"/>
          </a:bodyPr>
          <a:lstStyle/>
          <a:p>
            <a:pPr>
              <a:buFont typeface="Arial" panose="020B0604020202020204" pitchFamily="34" charset="0"/>
              <a:buChar char="•"/>
            </a:pPr>
            <a:br>
              <a:rPr lang="da-DK" b="1" dirty="0"/>
            </a:br>
            <a:r>
              <a:rPr lang="da-DK" sz="2400" b="1" dirty="0"/>
              <a:t>Start 1986 </a:t>
            </a:r>
            <a:r>
              <a:rPr lang="da-DK" sz="2400" dirty="0"/>
              <a:t>med Bjarne Hastrup som direktør</a:t>
            </a:r>
            <a:br>
              <a:rPr lang="da-DK" sz="2400" b="1" dirty="0"/>
            </a:br>
            <a:r>
              <a:rPr lang="da-DK" sz="2400" b="1" dirty="0"/>
              <a:t>215 </a:t>
            </a:r>
            <a:r>
              <a:rPr lang="da-DK" sz="2400" dirty="0"/>
              <a:t>lokalafdelinger – én forening</a:t>
            </a:r>
          </a:p>
          <a:p>
            <a:pPr>
              <a:buFont typeface="Arial" panose="020B0604020202020204" pitchFamily="34" charset="0"/>
              <a:buChar char="•"/>
            </a:pPr>
            <a:r>
              <a:rPr lang="da-DK" sz="2400" dirty="0"/>
              <a:t>Mere end hver anden dansker </a:t>
            </a:r>
            <a:r>
              <a:rPr lang="da-DK" sz="2400" b="1" dirty="0"/>
              <a:t>over 65 år </a:t>
            </a:r>
            <a:r>
              <a:rPr lang="da-DK" sz="2400" dirty="0"/>
              <a:t>og</a:t>
            </a:r>
            <a:r>
              <a:rPr lang="da-DK" sz="2400" b="1" dirty="0"/>
              <a:t> </a:t>
            </a:r>
            <a:r>
              <a:rPr lang="da-DK" sz="2400" dirty="0"/>
              <a:t>hver tredje </a:t>
            </a:r>
            <a:r>
              <a:rPr lang="da-DK" sz="2400" b="1" dirty="0"/>
              <a:t>over 50 år </a:t>
            </a:r>
            <a:r>
              <a:rPr lang="da-DK" sz="2400" dirty="0"/>
              <a:t>er medlem. I Greve lidt mere end 65% over 65 år.</a:t>
            </a:r>
          </a:p>
          <a:p>
            <a:pPr>
              <a:buFont typeface="Arial" panose="020B0604020202020204" pitchFamily="34" charset="0"/>
              <a:buChar char="•"/>
            </a:pPr>
            <a:r>
              <a:rPr lang="da-DK" sz="2400" dirty="0"/>
              <a:t>Medlemskab pr. halvår</a:t>
            </a:r>
            <a:br>
              <a:rPr lang="da-DK" sz="2400" dirty="0"/>
            </a:br>
            <a:r>
              <a:rPr lang="da-DK" sz="2400" dirty="0"/>
              <a:t>1 person </a:t>
            </a:r>
            <a:r>
              <a:rPr lang="da-DK" sz="2400" b="1" dirty="0"/>
              <a:t>135 kr.</a:t>
            </a:r>
            <a:r>
              <a:rPr lang="da-DK" sz="2400" dirty="0"/>
              <a:t> </a:t>
            </a:r>
            <a:br>
              <a:rPr lang="da-DK" sz="2400" dirty="0"/>
            </a:br>
            <a:r>
              <a:rPr lang="da-DK" sz="2400" dirty="0"/>
              <a:t>Familiemedlemsskab </a:t>
            </a:r>
            <a:r>
              <a:rPr lang="da-DK" sz="2400" b="1" dirty="0"/>
              <a:t>220 kr</a:t>
            </a:r>
            <a:r>
              <a:rPr lang="da-DK" sz="2400" dirty="0"/>
              <a:t>. </a:t>
            </a:r>
            <a:br>
              <a:rPr lang="da-DK" sz="2400" dirty="0"/>
            </a:br>
            <a:br>
              <a:rPr lang="da-DK" sz="2400" dirty="0"/>
            </a:br>
            <a:r>
              <a:rPr lang="da-DK" sz="2400" dirty="0"/>
              <a:t>Mere end </a:t>
            </a:r>
            <a:r>
              <a:rPr lang="da-DK" sz="2400" b="1" dirty="0"/>
              <a:t>100.000 lokale </a:t>
            </a:r>
            <a:r>
              <a:rPr lang="da-DK" sz="2400" dirty="0"/>
              <a:t>arrangementer</a:t>
            </a:r>
          </a:p>
          <a:p>
            <a:pPr>
              <a:buFont typeface="Arial" panose="020B0604020202020204" pitchFamily="34" charset="0"/>
              <a:buChar char="•"/>
            </a:pPr>
            <a:r>
              <a:rPr lang="da-DK" sz="2400" b="1" dirty="0"/>
              <a:t>44.000</a:t>
            </a:r>
            <a:r>
              <a:rPr lang="da-DK" sz="2400" dirty="0"/>
              <a:t> rådgivninger om året</a:t>
            </a:r>
          </a:p>
          <a:p>
            <a:pPr>
              <a:buFont typeface="Arial" panose="020B0604020202020204" pitchFamily="34" charset="0"/>
              <a:buChar char="•"/>
            </a:pPr>
            <a:r>
              <a:rPr lang="da-DK" sz="2400" dirty="0"/>
              <a:t>Over </a:t>
            </a:r>
            <a:r>
              <a:rPr lang="da-DK" sz="2400" b="1" dirty="0"/>
              <a:t>125.000</a:t>
            </a:r>
            <a:r>
              <a:rPr lang="da-DK" sz="2400" dirty="0"/>
              <a:t> følgere på Facebook</a:t>
            </a:r>
          </a:p>
          <a:p>
            <a:pPr>
              <a:buFont typeface="Arial" panose="020B0604020202020204" pitchFamily="34" charset="0"/>
              <a:buChar char="•"/>
            </a:pPr>
            <a:r>
              <a:rPr lang="da-DK" sz="2400" dirty="0"/>
              <a:t>Flere end 450.000 har hentet Ældre Sagens app</a:t>
            </a:r>
          </a:p>
          <a:p>
            <a:pPr>
              <a:buFont typeface="Arial" panose="020B0604020202020204" pitchFamily="34" charset="0"/>
              <a:buChar char="•"/>
            </a:pPr>
            <a:r>
              <a:rPr lang="da-DK" sz="2400" dirty="0"/>
              <a:t>Flere end 300.000 bruger hver måned vores hjemmeside</a:t>
            </a:r>
          </a:p>
          <a:p>
            <a:pPr>
              <a:buFont typeface="Arial" panose="020B0604020202020204" pitchFamily="34" charset="0"/>
              <a:buChar char="•"/>
            </a:pPr>
            <a:endParaRPr lang="da-DK" dirty="0"/>
          </a:p>
          <a:p>
            <a:pPr>
              <a:buFont typeface="Arial" panose="020B0604020202020204" pitchFamily="34" charset="0"/>
              <a:buChar char="•"/>
            </a:pPr>
            <a:endParaRPr lang="da-DK" dirty="0"/>
          </a:p>
        </p:txBody>
      </p:sp>
      <p:pic>
        <p:nvPicPr>
          <p:cNvPr id="9" name="Billede 8">
            <a:extLst>
              <a:ext uri="{FF2B5EF4-FFF2-40B4-BE49-F238E27FC236}">
                <a16:creationId xmlns:a16="http://schemas.microsoft.com/office/drawing/2014/main" id="{F55A9CF9-0E8D-E25E-E59F-69D8C5EC1348}"/>
              </a:ext>
            </a:extLst>
          </p:cNvPr>
          <p:cNvPicPr>
            <a:picLocks noChangeAspect="1"/>
          </p:cNvPicPr>
          <p:nvPr/>
        </p:nvPicPr>
        <p:blipFill rotWithShape="1">
          <a:blip r:embed="rId3"/>
          <a:srcRect l="10807" r="7375"/>
          <a:stretch/>
        </p:blipFill>
        <p:spPr>
          <a:xfrm>
            <a:off x="7545173" y="4983719"/>
            <a:ext cx="4169665" cy="1248822"/>
          </a:xfrm>
          <a:prstGeom prst="rect">
            <a:avLst/>
          </a:prstGeom>
        </p:spPr>
      </p:pic>
      <p:pic>
        <p:nvPicPr>
          <p:cNvPr id="10" name="Pladsholder til indhold 9" descr="Et billede, der indeholder tekst, skærmbillede, menneske, person&#10;&#10;Automatisk genereret beskrivelse">
            <a:extLst>
              <a:ext uri="{FF2B5EF4-FFF2-40B4-BE49-F238E27FC236}">
                <a16:creationId xmlns:a16="http://schemas.microsoft.com/office/drawing/2014/main" id="{23926C89-D7CF-AE1B-B2CB-9A69B3E2D2B5}"/>
              </a:ext>
            </a:extLst>
          </p:cNvPr>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9979718" y="234619"/>
            <a:ext cx="1728026" cy="3839592"/>
          </a:xfrm>
        </p:spPr>
      </p:pic>
      <p:pic>
        <p:nvPicPr>
          <p:cNvPr id="8" name="Billede 7">
            <a:extLst>
              <a:ext uri="{FF2B5EF4-FFF2-40B4-BE49-F238E27FC236}">
                <a16:creationId xmlns:a16="http://schemas.microsoft.com/office/drawing/2014/main" id="{9D2D9081-2F50-FEC1-8E1C-E416893443B6}"/>
              </a:ext>
            </a:extLst>
          </p:cNvPr>
          <p:cNvPicPr>
            <a:picLocks noChangeAspect="1"/>
          </p:cNvPicPr>
          <p:nvPr/>
        </p:nvPicPr>
        <p:blipFill rotWithShape="1">
          <a:blip r:embed="rId5"/>
          <a:srcRect l="13337" t="9643" r="15053"/>
          <a:stretch/>
        </p:blipFill>
        <p:spPr>
          <a:xfrm>
            <a:off x="7296129" y="3429000"/>
            <a:ext cx="4417800" cy="1364544"/>
          </a:xfrm>
          <a:prstGeom prst="rect">
            <a:avLst/>
          </a:prstGeom>
        </p:spPr>
      </p:pic>
      <p:sp>
        <p:nvSpPr>
          <p:cNvPr id="12" name="Titel 11">
            <a:extLst>
              <a:ext uri="{FF2B5EF4-FFF2-40B4-BE49-F238E27FC236}">
                <a16:creationId xmlns:a16="http://schemas.microsoft.com/office/drawing/2014/main" id="{F5B1504B-881D-3014-3FDF-BB7DBB63C337}"/>
              </a:ext>
            </a:extLst>
          </p:cNvPr>
          <p:cNvSpPr>
            <a:spLocks noGrp="1"/>
          </p:cNvSpPr>
          <p:nvPr>
            <p:ph type="title"/>
          </p:nvPr>
        </p:nvSpPr>
        <p:spPr/>
        <p:txBody>
          <a:bodyPr/>
          <a:lstStyle/>
          <a:p>
            <a:r>
              <a:rPr lang="da-DK" dirty="0"/>
              <a:t>Ældre Sagen - kort</a:t>
            </a:r>
          </a:p>
        </p:txBody>
      </p:sp>
    </p:spTree>
    <p:extLst>
      <p:ext uri="{BB962C8B-B14F-4D97-AF65-F5344CB8AC3E}">
        <p14:creationId xmlns:p14="http://schemas.microsoft.com/office/powerpoint/2010/main" val="119870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sz="quarter" idx="14"/>
          </p:nvPr>
        </p:nvSpPr>
        <p:spPr>
          <a:xfrm>
            <a:off x="1219200" y="1919883"/>
            <a:ext cx="5582310" cy="4286250"/>
          </a:xfrm>
        </p:spPr>
        <p:txBody>
          <a:bodyPr>
            <a:normAutofit/>
          </a:bodyPr>
          <a:lstStyle/>
          <a:p>
            <a:r>
              <a:rPr lang="da-DK" altLang="da-DK" sz="2800" dirty="0"/>
              <a:t>Ældres talerør</a:t>
            </a:r>
          </a:p>
          <a:p>
            <a:r>
              <a:rPr lang="da-DK" altLang="da-DK" sz="2800" dirty="0"/>
              <a:t>Åben for alle over 18 år</a:t>
            </a:r>
          </a:p>
          <a:p>
            <a:r>
              <a:rPr lang="da-DK" altLang="da-DK" sz="2800" dirty="0"/>
              <a:t>Uafhængig af partipolitik</a:t>
            </a:r>
          </a:p>
          <a:p>
            <a:r>
              <a:rPr lang="da-DK" altLang="da-DK" sz="2800" dirty="0"/>
              <a:t>Etnisk og religiøs neutral</a:t>
            </a:r>
          </a:p>
          <a:p>
            <a:r>
              <a:rPr lang="da-DK" altLang="da-DK" sz="2800" dirty="0"/>
              <a:t>Medlemsstyret</a:t>
            </a:r>
          </a:p>
        </p:txBody>
      </p:sp>
      <p:sp>
        <p:nvSpPr>
          <p:cNvPr id="4" name="Titel 3"/>
          <p:cNvSpPr>
            <a:spLocks noGrp="1"/>
          </p:cNvSpPr>
          <p:nvPr>
            <p:ph type="title"/>
          </p:nvPr>
        </p:nvSpPr>
        <p:spPr/>
        <p:txBody>
          <a:bodyPr/>
          <a:lstStyle/>
          <a:p>
            <a:r>
              <a:rPr lang="da-DK" dirty="0"/>
              <a:t>Ældre Sagens idégrundlag</a:t>
            </a:r>
          </a:p>
        </p:txBody>
      </p:sp>
      <p:pic>
        <p:nvPicPr>
          <p:cNvPr id="5" name="Pladsholder til indhold 4" descr="eldresagen_11_06_12 58928 1.jpg"/>
          <p:cNvPicPr>
            <a:picLocks noGrp="1" noChangeAspect="1"/>
          </p:cNvPicPr>
          <p:nvPr>
            <p:ph sz="quarter" idx="13"/>
          </p:nvPr>
        </p:nvPicPr>
        <p:blipFill rotWithShape="1">
          <a:blip r:embed="rId3" cstate="print">
            <a:extLst>
              <a:ext uri="{28A0092B-C50C-407E-A947-70E740481C1C}">
                <a14:useLocalDpi xmlns:a14="http://schemas.microsoft.com/office/drawing/2010/main"/>
              </a:ext>
            </a:extLst>
          </a:blip>
          <a:srcRect b="-481"/>
          <a:stretch/>
        </p:blipFill>
        <p:spPr>
          <a:xfrm>
            <a:off x="6548438" y="1444625"/>
            <a:ext cx="3429000" cy="4973238"/>
          </a:xfrm>
        </p:spPr>
      </p:pic>
    </p:spTree>
    <p:extLst>
      <p:ext uri="{BB962C8B-B14F-4D97-AF65-F5344CB8AC3E}">
        <p14:creationId xmlns:p14="http://schemas.microsoft.com/office/powerpoint/2010/main" val="109802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idx="1"/>
          </p:nvPr>
        </p:nvSpPr>
        <p:spPr>
          <a:xfrm>
            <a:off x="635248" y="1543943"/>
            <a:ext cx="11239499" cy="4752975"/>
          </a:xfrm>
          <a:noFill/>
          <a:ln>
            <a:noFill/>
            <a:miter lim="800000"/>
            <a:headEnd/>
            <a:tailEnd/>
          </a:ln>
          <a:effectLst/>
        </p:spPr>
        <p:style>
          <a:lnRef idx="0">
            <a:schemeClr val="accent2"/>
          </a:lnRef>
          <a:fillRef idx="3">
            <a:schemeClr val="accent2"/>
          </a:fillRef>
          <a:effectRef idx="3">
            <a:schemeClr val="accent2"/>
          </a:effectRef>
          <a:fontRef idx="minor">
            <a:schemeClr val="lt1"/>
          </a:fontRef>
        </p:style>
        <p:txBody>
          <a:bodyPr>
            <a:normAutofit lnSpcReduction="10000"/>
          </a:bodyPr>
          <a:lstStyle/>
          <a:p>
            <a:pPr marL="0" indent="0">
              <a:buNone/>
              <a:defRPr/>
            </a:pPr>
            <a:r>
              <a:rPr lang="da-DK" sz="3000" b="1" dirty="0">
                <a:solidFill>
                  <a:schemeClr val="tx2"/>
                </a:solidFill>
              </a:rPr>
              <a:t>Mission: Ældre Sagen kæmper for et samfund, hvor alle kan </a:t>
            </a:r>
            <a:br>
              <a:rPr lang="da-DK" sz="3000" b="1" dirty="0">
                <a:solidFill>
                  <a:schemeClr val="tx2"/>
                </a:solidFill>
              </a:rPr>
            </a:br>
            <a:r>
              <a:rPr lang="da-DK" sz="3000" b="1" dirty="0">
                <a:solidFill>
                  <a:schemeClr val="tx2"/>
                </a:solidFill>
              </a:rPr>
              <a:t>leve et godt liv – hele livet</a:t>
            </a:r>
          </a:p>
          <a:p>
            <a:pPr>
              <a:spcBef>
                <a:spcPts val="2400"/>
              </a:spcBef>
              <a:buNone/>
              <a:defRPr/>
            </a:pPr>
            <a:r>
              <a:rPr lang="da-DK" sz="2600" b="1" dirty="0">
                <a:solidFill>
                  <a:srgbClr val="404040"/>
                </a:solidFill>
              </a:rPr>
              <a:t>Vision:</a:t>
            </a:r>
            <a:r>
              <a:rPr lang="da-DK" sz="2600" dirty="0">
                <a:solidFill>
                  <a:srgbClr val="404040"/>
                </a:solidFill>
              </a:rPr>
              <a:t> Et samfund ...</a:t>
            </a:r>
          </a:p>
          <a:p>
            <a:pPr>
              <a:spcBef>
                <a:spcPts val="1200"/>
              </a:spcBef>
              <a:buFont typeface="Lucida Grande"/>
              <a:buChar char="-"/>
              <a:defRPr/>
            </a:pPr>
            <a:r>
              <a:rPr lang="da-DK" sz="2600" dirty="0">
                <a:solidFill>
                  <a:srgbClr val="404040"/>
                </a:solidFill>
              </a:rPr>
              <a:t>hvor personen er vigtigere end alderen</a:t>
            </a:r>
          </a:p>
          <a:p>
            <a:pPr>
              <a:spcBef>
                <a:spcPts val="1200"/>
              </a:spcBef>
              <a:buFont typeface="Lucida Grande"/>
              <a:buChar char="-"/>
              <a:defRPr/>
            </a:pPr>
            <a:r>
              <a:rPr lang="da-DK" sz="2600" dirty="0">
                <a:solidFill>
                  <a:srgbClr val="404040"/>
                </a:solidFill>
              </a:rPr>
              <a:t>hvor alle har mulighed for at leve og </a:t>
            </a:r>
            <a:br>
              <a:rPr lang="da-DK" sz="2600" dirty="0">
                <a:solidFill>
                  <a:srgbClr val="404040"/>
                </a:solidFill>
              </a:rPr>
            </a:br>
            <a:r>
              <a:rPr lang="da-DK" sz="2600" dirty="0">
                <a:solidFill>
                  <a:srgbClr val="404040"/>
                </a:solidFill>
              </a:rPr>
              <a:t>udfolde sig på egne betingelser</a:t>
            </a:r>
          </a:p>
          <a:p>
            <a:pPr>
              <a:spcBef>
                <a:spcPts val="1200"/>
              </a:spcBef>
              <a:buFont typeface="Lucida Grande"/>
              <a:buChar char="-"/>
              <a:defRPr/>
            </a:pPr>
            <a:r>
              <a:rPr lang="da-DK" sz="2600" dirty="0">
                <a:solidFill>
                  <a:srgbClr val="404040"/>
                </a:solidFill>
              </a:rPr>
              <a:t>hvor der er støtte og omsorg til dem, </a:t>
            </a:r>
            <a:br>
              <a:rPr lang="da-DK" sz="2600" dirty="0">
                <a:solidFill>
                  <a:srgbClr val="404040"/>
                </a:solidFill>
              </a:rPr>
            </a:br>
            <a:r>
              <a:rPr lang="da-DK" sz="2600" dirty="0">
                <a:solidFill>
                  <a:srgbClr val="404040"/>
                </a:solidFill>
              </a:rPr>
              <a:t>der har behov for det.</a:t>
            </a:r>
          </a:p>
          <a:p>
            <a:pPr marL="0" indent="0">
              <a:spcBef>
                <a:spcPts val="2400"/>
              </a:spcBef>
              <a:buNone/>
              <a:defRPr/>
            </a:pPr>
            <a:r>
              <a:rPr lang="da-DK" sz="2600" dirty="0">
                <a:solidFill>
                  <a:srgbClr val="404040"/>
                </a:solidFill>
              </a:rPr>
              <a:t>Vi sætter livserfaring og viden i spil – og forbinder forskellige slags overskud, behov og interesser i sociale netværk. </a:t>
            </a:r>
          </a:p>
        </p:txBody>
      </p:sp>
      <p:sp>
        <p:nvSpPr>
          <p:cNvPr id="3" name="Titel 2"/>
          <p:cNvSpPr>
            <a:spLocks noGrp="1"/>
          </p:cNvSpPr>
          <p:nvPr>
            <p:ph type="title"/>
          </p:nvPr>
        </p:nvSpPr>
        <p:spPr>
          <a:xfrm>
            <a:off x="476250" y="267273"/>
            <a:ext cx="11239500" cy="965157"/>
          </a:xfrm>
        </p:spPr>
        <p:txBody>
          <a:bodyPr/>
          <a:lstStyle/>
          <a:p>
            <a:r>
              <a:rPr lang="da-DK" dirty="0"/>
              <a:t>Vores mission og vision</a:t>
            </a:r>
          </a:p>
        </p:txBody>
      </p:sp>
      <p:pic>
        <p:nvPicPr>
          <p:cNvPr id="1026" name="Picture 2" descr="Claudi Thyrrestrup fotoptagele &quot;Familie og generationer&quot;, Studiet pÃ¥ NÃ¸rrebro, 18. april 2018">
            <a:extLst>
              <a:ext uri="{FF2B5EF4-FFF2-40B4-BE49-F238E27FC236}">
                <a16:creationId xmlns:a16="http://schemas.microsoft.com/office/drawing/2014/main" id="{840A720A-4A10-A683-8288-E4CEB2F3DD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6415" y="2093976"/>
            <a:ext cx="4018332" cy="2837947"/>
          </a:xfrm>
          <a:prstGeom prst="rect">
            <a:avLst/>
          </a:prstGeom>
          <a:noFill/>
          <a:effectLst>
            <a:softEdge rad="508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95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Pladsholder til indhold 8"/>
          <p:cNvSpPr>
            <a:spLocks noGrp="1"/>
          </p:cNvSpPr>
          <p:nvPr>
            <p:ph type="body" idx="1"/>
          </p:nvPr>
        </p:nvSpPr>
        <p:spPr>
          <a:xfrm>
            <a:off x="478369" y="1555220"/>
            <a:ext cx="10704251" cy="4686186"/>
          </a:xfrm>
        </p:spPr>
        <p:txBody>
          <a:bodyPr>
            <a:normAutofit/>
          </a:bodyPr>
          <a:lstStyle/>
          <a:p>
            <a:pPr marL="0" indent="0">
              <a:buClr>
                <a:schemeClr val="accent1"/>
              </a:buClr>
              <a:buNone/>
            </a:pPr>
            <a:r>
              <a:rPr lang="da-DK" altLang="da-DK" sz="2800" b="1" dirty="0">
                <a:solidFill>
                  <a:srgbClr val="A91D1E"/>
                </a:solidFill>
              </a:rPr>
              <a:t>Nærvær </a:t>
            </a:r>
          </a:p>
          <a:p>
            <a:pPr marL="360000" indent="0">
              <a:buClr>
                <a:schemeClr val="accent1"/>
              </a:buClr>
              <a:buNone/>
            </a:pPr>
            <a:r>
              <a:rPr lang="da-DK" altLang="da-DK" sz="2800" dirty="0"/>
              <a:t>Vi har et dybfølt engagement i mennesker omkring os</a:t>
            </a:r>
            <a:br>
              <a:rPr lang="da-DK" altLang="da-DK" sz="2800" dirty="0"/>
            </a:br>
            <a:endParaRPr lang="da-DK" altLang="da-DK" sz="2800" dirty="0"/>
          </a:p>
          <a:p>
            <a:pPr marL="0" indent="0">
              <a:buClr>
                <a:schemeClr val="accent1"/>
              </a:buClr>
              <a:buNone/>
            </a:pPr>
            <a:r>
              <a:rPr lang="da-DK" altLang="da-DK" sz="2800" b="1" dirty="0">
                <a:solidFill>
                  <a:srgbClr val="A91D1E"/>
                </a:solidFill>
              </a:rPr>
              <a:t>Indsigt</a:t>
            </a:r>
          </a:p>
          <a:p>
            <a:pPr marL="360000" indent="0">
              <a:buClr>
                <a:schemeClr val="accent1"/>
              </a:buClr>
              <a:buNone/>
            </a:pPr>
            <a:r>
              <a:rPr lang="da-DK" altLang="da-DK" sz="2800" dirty="0"/>
              <a:t>Vi udvikler og formidler viden i samarbejde og dialog</a:t>
            </a:r>
            <a:br>
              <a:rPr lang="da-DK" altLang="da-DK" sz="2800" dirty="0"/>
            </a:br>
            <a:endParaRPr lang="da-DK" altLang="da-DK" sz="2800" dirty="0"/>
          </a:p>
          <a:p>
            <a:pPr marL="0" indent="0">
              <a:buClr>
                <a:schemeClr val="accent1"/>
              </a:buClr>
              <a:buNone/>
            </a:pPr>
            <a:r>
              <a:rPr lang="da-DK" altLang="da-DK" sz="2800" b="1" dirty="0">
                <a:solidFill>
                  <a:srgbClr val="A91D1E"/>
                </a:solidFill>
              </a:rPr>
              <a:t>Handlekraft</a:t>
            </a:r>
          </a:p>
          <a:p>
            <a:pPr>
              <a:buFontTx/>
              <a:buNone/>
            </a:pPr>
            <a:r>
              <a:rPr lang="da-DK" altLang="da-DK" sz="2800" dirty="0"/>
              <a:t>	Vi gør noget ved det, vi omsætter vores viden, </a:t>
            </a:r>
            <a:br>
              <a:rPr lang="da-DK" altLang="da-DK" sz="2800" dirty="0"/>
            </a:br>
            <a:r>
              <a:rPr lang="da-DK" altLang="da-DK" sz="2800" dirty="0"/>
              <a:t>vi bidrager og bruger vores indflydelse.</a:t>
            </a:r>
          </a:p>
        </p:txBody>
      </p:sp>
      <p:sp>
        <p:nvSpPr>
          <p:cNvPr id="2" name="Pladsholder til tekst 1"/>
          <p:cNvSpPr>
            <a:spLocks noGrp="1"/>
          </p:cNvSpPr>
          <p:nvPr>
            <p:ph type="body" sz="quarter" idx="10"/>
          </p:nvPr>
        </p:nvSpPr>
        <p:spPr>
          <a:xfrm>
            <a:off x="478369" y="303756"/>
            <a:ext cx="11235267" cy="996267"/>
          </a:xfrm>
        </p:spPr>
        <p:txBody>
          <a:bodyPr/>
          <a:lstStyle/>
          <a:p>
            <a:r>
              <a:rPr lang="da-DK" altLang="da-DK" dirty="0"/>
              <a:t>Ældre Sagens værdier</a:t>
            </a:r>
            <a:endParaRPr lang="da-DK" dirty="0"/>
          </a:p>
        </p:txBody>
      </p:sp>
      <p:pic>
        <p:nvPicPr>
          <p:cNvPr id="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190" t="8210" r="18653" b="12574"/>
          <a:stretch/>
        </p:blipFill>
        <p:spPr bwMode="auto">
          <a:xfrm>
            <a:off x="8365788" y="4095345"/>
            <a:ext cx="3444390" cy="189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920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76250" y="267273"/>
            <a:ext cx="11239500" cy="965157"/>
          </a:xfrm>
        </p:spPr>
        <p:txBody>
          <a:bodyPr/>
          <a:lstStyle/>
          <a:p>
            <a:r>
              <a:rPr lang="da-DK" dirty="0"/>
              <a:t>Ældre Sagens mærkesager</a:t>
            </a:r>
          </a:p>
        </p:txBody>
      </p:sp>
      <p:pic>
        <p:nvPicPr>
          <p:cNvPr id="6" name="Pladsholder til indhold 4">
            <a:extLst>
              <a:ext uri="{FF2B5EF4-FFF2-40B4-BE49-F238E27FC236}">
                <a16:creationId xmlns:a16="http://schemas.microsoft.com/office/drawing/2014/main" id="{C0C8C672-8FA6-24B9-C98C-7BF791EA4F2E}"/>
              </a:ext>
            </a:extLst>
          </p:cNvPr>
          <p:cNvPicPr>
            <a:picLocks noChangeAspect="1"/>
          </p:cNvPicPr>
          <p:nvPr/>
        </p:nvPicPr>
        <p:blipFill rotWithShape="1">
          <a:blip r:embed="rId3"/>
          <a:srcRect l="10489" t="8861" r="8409" b="46255"/>
          <a:stretch/>
        </p:blipFill>
        <p:spPr>
          <a:xfrm>
            <a:off x="1101126" y="1347732"/>
            <a:ext cx="8979830" cy="2494693"/>
          </a:xfrm>
          <a:prstGeom prst="rect">
            <a:avLst/>
          </a:prstGeom>
        </p:spPr>
      </p:pic>
      <p:pic>
        <p:nvPicPr>
          <p:cNvPr id="2" name="Billede 1">
            <a:extLst>
              <a:ext uri="{FF2B5EF4-FFF2-40B4-BE49-F238E27FC236}">
                <a16:creationId xmlns:a16="http://schemas.microsoft.com/office/drawing/2014/main" id="{DF78D3BB-8430-8C0F-B998-D97D39A60D59}"/>
              </a:ext>
            </a:extLst>
          </p:cNvPr>
          <p:cNvPicPr>
            <a:picLocks noChangeAspect="1"/>
          </p:cNvPicPr>
          <p:nvPr/>
        </p:nvPicPr>
        <p:blipFill>
          <a:blip r:embed="rId4"/>
          <a:stretch>
            <a:fillRect/>
          </a:stretch>
        </p:blipFill>
        <p:spPr>
          <a:xfrm>
            <a:off x="1101125" y="3842426"/>
            <a:ext cx="8979831" cy="2866998"/>
          </a:xfrm>
          <a:prstGeom prst="rect">
            <a:avLst/>
          </a:prstGeom>
        </p:spPr>
      </p:pic>
    </p:spTree>
    <p:extLst>
      <p:ext uri="{BB962C8B-B14F-4D97-AF65-F5344CB8AC3E}">
        <p14:creationId xmlns:p14="http://schemas.microsoft.com/office/powerpoint/2010/main" val="416297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76250" y="267273"/>
            <a:ext cx="11239500" cy="965157"/>
          </a:xfrm>
        </p:spPr>
        <p:txBody>
          <a:bodyPr/>
          <a:lstStyle/>
          <a:p>
            <a:r>
              <a:rPr lang="da-DK" dirty="0"/>
              <a:t>Ældre Sagens mærkesager</a:t>
            </a:r>
          </a:p>
        </p:txBody>
      </p:sp>
      <p:sp>
        <p:nvSpPr>
          <p:cNvPr id="5" name="Pladsholder til tekst 4">
            <a:extLst>
              <a:ext uri="{FF2B5EF4-FFF2-40B4-BE49-F238E27FC236}">
                <a16:creationId xmlns:a16="http://schemas.microsoft.com/office/drawing/2014/main" id="{4B27FBD7-29C3-D680-6238-3F406A6DC2FD}"/>
              </a:ext>
            </a:extLst>
          </p:cNvPr>
          <p:cNvSpPr>
            <a:spLocks noGrp="1"/>
          </p:cNvSpPr>
          <p:nvPr>
            <p:ph type="body" idx="1"/>
          </p:nvPr>
        </p:nvSpPr>
        <p:spPr/>
        <p:txBody>
          <a:bodyPr/>
          <a:lstStyle/>
          <a:p>
            <a:endParaRPr lang="da-DK" dirty="0"/>
          </a:p>
        </p:txBody>
      </p:sp>
      <p:pic>
        <p:nvPicPr>
          <p:cNvPr id="4" name="Pladsholder til indhold 4">
            <a:extLst>
              <a:ext uri="{FF2B5EF4-FFF2-40B4-BE49-F238E27FC236}">
                <a16:creationId xmlns:a16="http://schemas.microsoft.com/office/drawing/2014/main" id="{0EB74FA3-D38E-65BB-B290-EE05085A7FD8}"/>
              </a:ext>
            </a:extLst>
          </p:cNvPr>
          <p:cNvPicPr>
            <a:picLocks noChangeAspect="1"/>
          </p:cNvPicPr>
          <p:nvPr/>
        </p:nvPicPr>
        <p:blipFill rotWithShape="1">
          <a:blip r:embed="rId3"/>
          <a:srcRect l="11170" t="14401" r="8636" b="20073"/>
          <a:stretch/>
        </p:blipFill>
        <p:spPr>
          <a:xfrm>
            <a:off x="866632" y="1344572"/>
            <a:ext cx="10849118" cy="5263432"/>
          </a:xfrm>
          <a:prstGeom prst="rect">
            <a:avLst/>
          </a:prstGeom>
        </p:spPr>
      </p:pic>
    </p:spTree>
    <p:extLst>
      <p:ext uri="{BB962C8B-B14F-4D97-AF65-F5344CB8AC3E}">
        <p14:creationId xmlns:p14="http://schemas.microsoft.com/office/powerpoint/2010/main" val="317288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Pladsholder til tekst 15"/>
          <p:cNvSpPr>
            <a:spLocks noGrp="1"/>
          </p:cNvSpPr>
          <p:nvPr>
            <p:ph type="body" sz="quarter" idx="10"/>
          </p:nvPr>
        </p:nvSpPr>
        <p:spPr/>
        <p:txBody>
          <a:bodyPr/>
          <a:lstStyle/>
          <a:p>
            <a:r>
              <a:rPr lang="da-DK" dirty="0"/>
              <a:t>Vedtægten §8.2 </a:t>
            </a:r>
          </a:p>
          <a:p>
            <a:endParaRPr lang="da-DK" dirty="0"/>
          </a:p>
        </p:txBody>
      </p:sp>
      <p:graphicFrame>
        <p:nvGraphicFramePr>
          <p:cNvPr id="3" name="Pladsholder til indhold 2">
            <a:extLst>
              <a:ext uri="{FF2B5EF4-FFF2-40B4-BE49-F238E27FC236}">
                <a16:creationId xmlns:a16="http://schemas.microsoft.com/office/drawing/2014/main" id="{19D409EB-3895-4138-BB5A-0A3CCEB0D5E0}"/>
              </a:ext>
            </a:extLst>
          </p:cNvPr>
          <p:cNvGraphicFramePr>
            <a:graphicFrameLocks noGrp="1"/>
          </p:cNvGraphicFramePr>
          <p:nvPr>
            <p:ph sz="quarter" idx="12"/>
            <p:extLst>
              <p:ext uri="{D42A27DB-BD31-4B8C-83A1-F6EECF244321}">
                <p14:modId xmlns:p14="http://schemas.microsoft.com/office/powerpoint/2010/main" val="312726878"/>
              </p:ext>
            </p:extLst>
          </p:nvPr>
        </p:nvGraphicFramePr>
        <p:xfrm>
          <a:off x="484188" y="1874838"/>
          <a:ext cx="11239500" cy="43402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itel 14"/>
          <p:cNvSpPr>
            <a:spLocks noGrp="1"/>
          </p:cNvSpPr>
          <p:nvPr>
            <p:ph type="title"/>
          </p:nvPr>
        </p:nvSpPr>
        <p:spPr/>
        <p:txBody>
          <a:bodyPr>
            <a:normAutofit/>
          </a:bodyPr>
          <a:lstStyle/>
          <a:p>
            <a:r>
              <a:rPr lang="da-DK" sz="4900" dirty="0"/>
              <a:t>Lokalafdelingernes opgaver</a:t>
            </a:r>
            <a:endParaRPr lang="da-DK" dirty="0"/>
          </a:p>
        </p:txBody>
      </p:sp>
      <p:pic>
        <p:nvPicPr>
          <p:cNvPr id="5" name="Billede 4">
            <a:extLst>
              <a:ext uri="{FF2B5EF4-FFF2-40B4-BE49-F238E27FC236}">
                <a16:creationId xmlns:a16="http://schemas.microsoft.com/office/drawing/2014/main" id="{EA87BC87-3528-425E-8105-DA76110A6BDF}"/>
              </a:ext>
            </a:extLst>
          </p:cNvPr>
          <p:cNvPicPr>
            <a:picLocks noChangeAspect="1"/>
          </p:cNvPicPr>
          <p:nvPr/>
        </p:nvPicPr>
        <p:blipFill>
          <a:blip r:embed="rId8"/>
          <a:stretch>
            <a:fillRect/>
          </a:stretch>
        </p:blipFill>
        <p:spPr>
          <a:xfrm>
            <a:off x="2738132" y="4224193"/>
            <a:ext cx="2085013" cy="1432684"/>
          </a:xfrm>
          <a:prstGeom prst="rect">
            <a:avLst/>
          </a:prstGeom>
        </p:spPr>
      </p:pic>
    </p:spTree>
    <p:extLst>
      <p:ext uri="{BB962C8B-B14F-4D97-AF65-F5344CB8AC3E}">
        <p14:creationId xmlns:p14="http://schemas.microsoft.com/office/powerpoint/2010/main" val="177247859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S_PowerPointskabelon_2019">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2700" b="0" i="0" u="none" strike="noStrike" cap="none" spc="0" normalizeH="0" baseline="0" dirty="0" err="1" smtClean="0">
            <a:solidFill>
              <a:srgbClr val="FFFFFF"/>
            </a:solidFill>
            <a:uFillTx/>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2.xml><?xml version="1.0" encoding="utf-8"?>
<a:theme xmlns:a="http://schemas.openxmlformats.org/drawingml/2006/main" name="1_a_Ældre Sagen Powerpoint 11-01_2018">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2700" b="0" i="0" u="none" strike="noStrike" cap="none" spc="0" normalizeH="0" baseline="0" dirty="0" err="1" smtClean="0">
            <a:solidFill>
              <a:srgbClr val="FFFFFF"/>
            </a:solidFill>
            <a:uFillTx/>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Ledelse og samarbejde modul 1 dag 2" id="{7200B656-DAF7-2D43-ACEC-1F0DE3CC8E3D}" vid="{9094BCCD-9F4F-DA4B-85D0-021C06DFF969}"/>
    </a:ext>
  </a:extLst>
</a:theme>
</file>

<file path=ppt/theme/theme3.xml><?xml version="1.0" encoding="utf-8"?>
<a:theme xmlns:a="http://schemas.openxmlformats.org/drawingml/2006/main" name="a_Ældre Sagen PowerPoint 16-9_2017">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4.xml><?xml version="1.0" encoding="utf-8"?>
<a:theme xmlns:a="http://schemas.openxmlformats.org/drawingml/2006/main" name="1_a_Ældre Sagen PowerPoint 16-9_2017">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5.xml><?xml version="1.0" encoding="utf-8"?>
<a:theme xmlns:a="http://schemas.openxmlformats.org/drawingml/2006/main" name="a_Ældre Sagen Powerpoint 20-03_2019">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2700" b="0" i="0" u="none" strike="noStrike" cap="none" spc="0" normalizeH="0" baseline="0" dirty="0" err="1" smtClean="0">
            <a:solidFill>
              <a:srgbClr val="FFFFFF"/>
            </a:solidFill>
            <a:uFillTx/>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6.xml><?xml version="1.0" encoding="utf-8"?>
<a:theme xmlns:a="http://schemas.openxmlformats.org/drawingml/2006/main" name="2_a_Ældre Sagen PowerPoint 16-9_2017">
  <a:themeElements>
    <a:clrScheme name="Ældresagen2016">
      <a:dk1>
        <a:srgbClr val="000000"/>
      </a:dk1>
      <a:lt1>
        <a:srgbClr val="FFFFFF"/>
      </a:lt1>
      <a:dk2>
        <a:srgbClr val="A91D1E"/>
      </a:dk2>
      <a:lt2>
        <a:srgbClr val="908979"/>
      </a:lt2>
      <a:accent1>
        <a:srgbClr val="C15F9C"/>
      </a:accent1>
      <a:accent2>
        <a:srgbClr val="9D1E65"/>
      </a:accent2>
      <a:accent3>
        <a:srgbClr val="6EA7AF"/>
      </a:accent3>
      <a:accent4>
        <a:srgbClr val="15494F"/>
      </a:accent4>
      <a:accent5>
        <a:srgbClr val="7281A4"/>
      </a:accent5>
      <a:accent6>
        <a:srgbClr val="111535"/>
      </a:accent6>
      <a:hlink>
        <a:srgbClr val="314C83"/>
      </a:hlink>
      <a:folHlink>
        <a:srgbClr val="5E22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outerShdw blurRad="25400" dist="33948" dir="2700000" rotWithShape="0">
                <a:srgbClr val="3B3936"/>
              </a:outerShdw>
            </a:effectLst>
            <a:uFillTx/>
            <a:latin typeface="Palatino"/>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2016-16_9.potx" id="{FA62C7F8-41E3-4CF3-B1AF-0560228E0AF8}" vid="{84D6CD33-1C15-46A3-8315-F2B29DD7BD60}"/>
    </a:ext>
  </a:extLst>
</a:theme>
</file>

<file path=ppt/theme/theme7.xml><?xml version="1.0" encoding="utf-8"?>
<a:theme xmlns:a="http://schemas.openxmlformats.org/drawingml/2006/main" name="Ældre Sagen Standard 2020">
  <a:themeElements>
    <a:clrScheme name="Ældre Sagen 2020 6">
      <a:dk1>
        <a:srgbClr val="000000"/>
      </a:dk1>
      <a:lt1>
        <a:srgbClr val="FFFFFF"/>
      </a:lt1>
      <a:dk2>
        <a:srgbClr val="324248"/>
      </a:dk2>
      <a:lt2>
        <a:srgbClr val="D3D2C3"/>
      </a:lt2>
      <a:accent1>
        <a:srgbClr val="8E8A7F"/>
      </a:accent1>
      <a:accent2>
        <a:srgbClr val="45535A"/>
      </a:accent2>
      <a:accent3>
        <a:srgbClr val="6DA7AF"/>
      </a:accent3>
      <a:accent4>
        <a:srgbClr val="8393BC"/>
      </a:accent4>
      <a:accent5>
        <a:srgbClr val="AB0066"/>
      </a:accent5>
      <a:accent6>
        <a:srgbClr val="111535"/>
      </a:accent6>
      <a:hlink>
        <a:srgbClr val="314C83"/>
      </a:hlink>
      <a:folHlink>
        <a:srgbClr val="5C2C5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ew_Template4">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solidFill>
            <a:schemeClr val="accent1">
              <a:lumMod val="50000"/>
            </a:schemeClr>
          </a:solidFill>
          <a:miter lim="400000"/>
        </a:ln>
        <a:effectLst/>
      </a:spPr>
      <a:bodyPr rot="0" spcFirstLastPara="1" vertOverflow="overflow" horzOverflow="overflow" vert="horz" wrap="square" lIns="50800" tIns="50800" rIns="50800" bIns="50800" numCol="1" spcCol="38100" rtlCol="0" fromWordArt="0" anchor="ctr" anchorCtr="0" forceAA="0" compatLnSpc="1">
        <a:prstTxWarp prst="textNoShape">
          <a:avLst/>
        </a:prstTxWarp>
        <a:spAutoFit/>
      </a:bodyPr>
      <a:lstStyle>
        <a:defPPr marL="0" marR="0" indent="0" algn="ctr" defTabSz="584200" rtl="0" fontAlgn="auto" latinLnBrk="1" hangingPunct="0">
          <a:lnSpc>
            <a:spcPct val="100000"/>
          </a:lnSpc>
          <a:spcBef>
            <a:spcPts val="0"/>
          </a:spcBef>
          <a:spcAft>
            <a:spcPts val="0"/>
          </a:spcAft>
          <a:buClrTx/>
          <a:buSzTx/>
          <a:buFontTx/>
          <a:buNone/>
          <a:tabLst/>
          <a:defRPr kumimoji="0" sz="2700" b="0" i="0" u="none" strike="noStrike" cap="none" spc="0" normalizeH="0" baseline="0" dirty="0" err="1" smtClean="0">
            <a:solidFill>
              <a:srgbClr val="FFFFFF"/>
            </a:solidFill>
            <a:uFillTx/>
            <a:ea typeface="Palatino"/>
            <a:cs typeface="Palatino"/>
            <a:sym typeface="Palatino"/>
          </a:defRPr>
        </a:defPPr>
      </a:lstStyle>
      <a:style>
        <a:lnRef idx="0">
          <a:scrgbClr r="0" g="0" b="0"/>
        </a:lnRef>
        <a:fillRef idx="0">
          <a:scrgbClr r="0" g="0" b="0"/>
        </a:fillRef>
        <a:effectRef idx="0">
          <a:scrgbClr r="0" g="0" b="0"/>
        </a:effectRef>
        <a:fontRef idx="none"/>
      </a:style>
    </a:spDef>
    <a:lnDef>
      <a:spPr>
        <a:noFill/>
        <a:ln w="25400" cap="flat">
          <a:solidFill>
            <a:srgbClr val="414141"/>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dirty="0" err="1" smtClean="0">
            <a:ln>
              <a:noFill/>
            </a:ln>
            <a:solidFill>
              <a:srgbClr val="414141"/>
            </a:solidFill>
            <a:effectLst/>
            <a:uFillTx/>
            <a:latin typeface="+mn-lt"/>
            <a:ea typeface="Palatino"/>
            <a:cs typeface="Palatino"/>
            <a:sym typeface="Palatino"/>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Ældre Sagen Standard 2020" id="{396D0701-91E9-9249-A2AA-47AFE7E66DF4}" vid="{32B92D59-0315-714F-8044-1F1B723F5C69}"/>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97</TotalTime>
  <Words>1412</Words>
  <Application>Microsoft Office PowerPoint</Application>
  <PresentationFormat>Widescreen</PresentationFormat>
  <Paragraphs>144</Paragraphs>
  <Slides>15</Slides>
  <Notes>11</Notes>
  <HiddenSlides>0</HiddenSlides>
  <MMClips>0</MMClips>
  <ScaleCrop>false</ScaleCrop>
  <HeadingPairs>
    <vt:vector size="8" baseType="variant">
      <vt:variant>
        <vt:lpstr>Benyttede skrifttyper</vt:lpstr>
      </vt:variant>
      <vt:variant>
        <vt:i4>7</vt:i4>
      </vt:variant>
      <vt:variant>
        <vt:lpstr>Tema</vt:lpstr>
      </vt:variant>
      <vt:variant>
        <vt:i4>7</vt:i4>
      </vt:variant>
      <vt:variant>
        <vt:lpstr>Integrerede OLE-servere</vt:lpstr>
      </vt:variant>
      <vt:variant>
        <vt:i4>1</vt:i4>
      </vt:variant>
      <vt:variant>
        <vt:lpstr>Slidetitler</vt:lpstr>
      </vt:variant>
      <vt:variant>
        <vt:i4>15</vt:i4>
      </vt:variant>
    </vt:vector>
  </HeadingPairs>
  <TitlesOfParts>
    <vt:vector size="30" baseType="lpstr">
      <vt:lpstr>Arial</vt:lpstr>
      <vt:lpstr>Calibri</vt:lpstr>
      <vt:lpstr>Georgia</vt:lpstr>
      <vt:lpstr>Helvetica</vt:lpstr>
      <vt:lpstr>Lucida Grande</vt:lpstr>
      <vt:lpstr>Palatino</vt:lpstr>
      <vt:lpstr>Times</vt:lpstr>
      <vt:lpstr>AES_PowerPointskabelon_2019</vt:lpstr>
      <vt:lpstr>1_a_Ældre Sagen Powerpoint 11-01_2018</vt:lpstr>
      <vt:lpstr>a_Ældre Sagen PowerPoint 16-9_2017</vt:lpstr>
      <vt:lpstr>1_a_Ældre Sagen PowerPoint 16-9_2017</vt:lpstr>
      <vt:lpstr>a_Ældre Sagen Powerpoint 20-03_2019</vt:lpstr>
      <vt:lpstr>2_a_Ældre Sagen PowerPoint 16-9_2017</vt:lpstr>
      <vt:lpstr>Ældre Sagen Standard 2020</vt:lpstr>
      <vt:lpstr>think-cell Slide</vt:lpstr>
      <vt:lpstr>PowerPoint-præsentation</vt:lpstr>
      <vt:lpstr>PowerPoint-præsentation</vt:lpstr>
      <vt:lpstr>Ældre Sagen - kort</vt:lpstr>
      <vt:lpstr>Ældre Sagens idégrundlag</vt:lpstr>
      <vt:lpstr>Vores mission og vision</vt:lpstr>
      <vt:lpstr>PowerPoint-præsentation</vt:lpstr>
      <vt:lpstr>Ældre Sagens mærkesager</vt:lpstr>
      <vt:lpstr>Ældre Sagens mærkesager</vt:lpstr>
      <vt:lpstr>Lokalafdelingernes opgaver</vt:lpstr>
      <vt:lpstr>PowerPoint-præsentation</vt:lpstr>
      <vt:lpstr>Ældre Sagen Greve</vt:lpstr>
      <vt:lpstr>PowerPoint-præsentation</vt:lpstr>
      <vt:lpstr>PowerPoint-præsentation</vt:lpstr>
      <vt:lpstr>PowerPoint-præsentation</vt:lpstr>
      <vt:lpstr>Ældre Sagen Grev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lkommen til kursus for nye frivilligledere 2021</dc:title>
  <dc:creator>Bente Petersen</dc:creator>
  <cp:lastModifiedBy>May Grandahl</cp:lastModifiedBy>
  <cp:revision>91</cp:revision>
  <dcterms:created xsi:type="dcterms:W3CDTF">2020-07-13T12:25:31Z</dcterms:created>
  <dcterms:modified xsi:type="dcterms:W3CDTF">2024-01-14T10:15:45Z</dcterms:modified>
</cp:coreProperties>
</file>